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003" r:id="rId5"/>
    <p:sldMasterId id="2147484015" r:id="rId6"/>
  </p:sldMasterIdLst>
  <p:notesMasterIdLst>
    <p:notesMasterId r:id="rId19"/>
  </p:notesMasterIdLst>
  <p:handoutMasterIdLst>
    <p:handoutMasterId r:id="rId20"/>
  </p:handoutMasterIdLst>
  <p:sldIdLst>
    <p:sldId id="2146846204" r:id="rId7"/>
    <p:sldId id="2146846210" r:id="rId8"/>
    <p:sldId id="2146846211" r:id="rId9"/>
    <p:sldId id="2146846212" r:id="rId10"/>
    <p:sldId id="2146846213" r:id="rId11"/>
    <p:sldId id="2146846214" r:id="rId12"/>
    <p:sldId id="2146846205" r:id="rId13"/>
    <p:sldId id="2146846206" r:id="rId14"/>
    <p:sldId id="2146846207" r:id="rId15"/>
    <p:sldId id="2146846208" r:id="rId16"/>
    <p:sldId id="2146846209" r:id="rId17"/>
    <p:sldId id="2146846138" r:id="rId18"/>
  </p:sldIdLst>
  <p:sldSz cx="12192000" cy="6858000"/>
  <p:notesSz cx="6858000" cy="9144000"/>
  <p:custDataLst>
    <p:tags r:id="rId21"/>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3A55"/>
    <a:srgbClr val="FCD5D4"/>
    <a:srgbClr val="F9B3B1"/>
    <a:srgbClr val="F4736F"/>
    <a:srgbClr val="FFF599"/>
    <a:srgbClr val="FFE600"/>
    <a:srgbClr val="A97FF0"/>
    <a:srgbClr val="000000"/>
    <a:srgbClr val="3D108A"/>
    <a:srgbClr val="EBF0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0A7616-E05F-413C-B432-12881B7C4D0D}" v="14" dt="2022-06-03T21:27:27.395"/>
    <p1510:client id="{DDC0AF11-2D61-425D-BC3E-9D410190C756}" v="27" dt="2022-06-03T01:35:36.0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55" autoAdjust="0"/>
    <p:restoredTop sz="94660"/>
  </p:normalViewPr>
  <p:slideViewPr>
    <p:cSldViewPr snapToGrid="0">
      <p:cViewPr>
        <p:scale>
          <a:sx n="75" d="100"/>
          <a:sy n="75" d="100"/>
        </p:scale>
        <p:origin x="580" y="72"/>
      </p:cViewPr>
      <p:guideLst/>
    </p:cSldViewPr>
  </p:slideViewPr>
  <p:notesTextViewPr>
    <p:cViewPr>
      <p:scale>
        <a:sx n="66" d="100"/>
        <a:sy n="66"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rine Schifino" userId="37bb67de-9fcf-4611-888c-7e5b58184a2a" providerId="ADAL" clId="{C66116D1-FF33-4208-A776-57FC8BAF96E0}"/>
    <pc:docChg chg="undo redo custSel addSld delSld modSld">
      <pc:chgData name="Katerine Schifino" userId="37bb67de-9fcf-4611-888c-7e5b58184a2a" providerId="ADAL" clId="{C66116D1-FF33-4208-A776-57FC8BAF96E0}" dt="2022-06-01T22:16:25.124" v="2116" actId="20577"/>
      <pc:docMkLst>
        <pc:docMk/>
      </pc:docMkLst>
      <pc:sldChg chg="addSp delSp modSp mod">
        <pc:chgData name="Katerine Schifino" userId="37bb67de-9fcf-4611-888c-7e5b58184a2a" providerId="ADAL" clId="{C66116D1-FF33-4208-A776-57FC8BAF96E0}" dt="2022-06-01T20:36:26.935" v="158" actId="478"/>
        <pc:sldMkLst>
          <pc:docMk/>
          <pc:sldMk cId="3592422974" sldId="2080108014"/>
        </pc:sldMkLst>
        <pc:spChg chg="add del mod">
          <ac:chgData name="Katerine Schifino" userId="37bb67de-9fcf-4611-888c-7e5b58184a2a" providerId="ADAL" clId="{C66116D1-FF33-4208-A776-57FC8BAF96E0}" dt="2022-06-01T20:36:26.935" v="158" actId="478"/>
          <ac:spMkLst>
            <pc:docMk/>
            <pc:sldMk cId="3592422974" sldId="2080108014"/>
            <ac:spMk id="13" creationId="{E60EF041-A5F5-458B-99F4-FA02CB9E5BD3}"/>
          </ac:spMkLst>
        </pc:spChg>
        <pc:picChg chg="add del mod">
          <ac:chgData name="Katerine Schifino" userId="37bb67de-9fcf-4611-888c-7e5b58184a2a" providerId="ADAL" clId="{C66116D1-FF33-4208-A776-57FC8BAF96E0}" dt="2022-06-01T20:36:26.935" v="158" actId="478"/>
          <ac:picMkLst>
            <pc:docMk/>
            <pc:sldMk cId="3592422974" sldId="2080108014"/>
            <ac:picMk id="12" creationId="{37C56431-AFF0-4E38-B164-335F0E6569E6}"/>
          </ac:picMkLst>
        </pc:picChg>
      </pc:sldChg>
      <pc:sldChg chg="addSp delSp modSp mod">
        <pc:chgData name="Katerine Schifino" userId="37bb67de-9fcf-4611-888c-7e5b58184a2a" providerId="ADAL" clId="{C66116D1-FF33-4208-A776-57FC8BAF96E0}" dt="2022-06-01T20:34:06.126" v="70" actId="21"/>
        <pc:sldMkLst>
          <pc:docMk/>
          <pc:sldMk cId="3114610397" sldId="2080108169"/>
        </pc:sldMkLst>
        <pc:spChg chg="add del mod">
          <ac:chgData name="Katerine Schifino" userId="37bb67de-9fcf-4611-888c-7e5b58184a2a" providerId="ADAL" clId="{C66116D1-FF33-4208-A776-57FC8BAF96E0}" dt="2022-06-01T20:34:06.126" v="70" actId="21"/>
          <ac:spMkLst>
            <pc:docMk/>
            <pc:sldMk cId="3114610397" sldId="2080108169"/>
            <ac:spMk id="21" creationId="{F8991E1E-9EF1-4359-9C0A-BF1A5C117B19}"/>
          </ac:spMkLst>
        </pc:spChg>
        <pc:picChg chg="add del">
          <ac:chgData name="Katerine Schifino" userId="37bb67de-9fcf-4611-888c-7e5b58184a2a" providerId="ADAL" clId="{C66116D1-FF33-4208-A776-57FC8BAF96E0}" dt="2022-06-01T20:34:06.126" v="70" actId="21"/>
          <ac:picMkLst>
            <pc:docMk/>
            <pc:sldMk cId="3114610397" sldId="2080108169"/>
            <ac:picMk id="15" creationId="{34F173C5-BBE8-4F04-BBD2-C0B853B3DA10}"/>
          </ac:picMkLst>
        </pc:picChg>
      </pc:sldChg>
      <pc:sldChg chg="modSp mod">
        <pc:chgData name="Katerine Schifino" userId="37bb67de-9fcf-4611-888c-7e5b58184a2a" providerId="ADAL" clId="{C66116D1-FF33-4208-A776-57FC8BAF96E0}" dt="2022-06-01T22:06:30.636" v="1951" actId="20577"/>
        <pc:sldMkLst>
          <pc:docMk/>
          <pc:sldMk cId="3576568090" sldId="2146846137"/>
        </pc:sldMkLst>
        <pc:spChg chg="mod">
          <ac:chgData name="Katerine Schifino" userId="37bb67de-9fcf-4611-888c-7e5b58184a2a" providerId="ADAL" clId="{C66116D1-FF33-4208-A776-57FC8BAF96E0}" dt="2022-06-01T22:06:30.636" v="1951" actId="20577"/>
          <ac:spMkLst>
            <pc:docMk/>
            <pc:sldMk cId="3576568090" sldId="2146846137"/>
            <ac:spMk id="6" creationId="{C3E24BFF-A0DB-4ECE-96D3-5EAB937B7323}"/>
          </ac:spMkLst>
        </pc:spChg>
      </pc:sldChg>
      <pc:sldChg chg="addSp delSp modSp mod">
        <pc:chgData name="Katerine Schifino" userId="37bb67de-9fcf-4611-888c-7e5b58184a2a" providerId="ADAL" clId="{C66116D1-FF33-4208-A776-57FC8BAF96E0}" dt="2022-06-01T22:16:25.124" v="2116" actId="20577"/>
        <pc:sldMkLst>
          <pc:docMk/>
          <pc:sldMk cId="1553596990" sldId="2146846138"/>
        </pc:sldMkLst>
        <pc:spChg chg="mod">
          <ac:chgData name="Katerine Schifino" userId="37bb67de-9fcf-4611-888c-7e5b58184a2a" providerId="ADAL" clId="{C66116D1-FF33-4208-A776-57FC8BAF96E0}" dt="2022-06-01T22:16:25.124" v="2116" actId="20577"/>
          <ac:spMkLst>
            <pc:docMk/>
            <pc:sldMk cId="1553596990" sldId="2146846138"/>
            <ac:spMk id="3" creationId="{FEA9F600-57E1-444E-9B65-D38B4F85ADE7}"/>
          </ac:spMkLst>
        </pc:spChg>
        <pc:picChg chg="del">
          <ac:chgData name="Katerine Schifino" userId="37bb67de-9fcf-4611-888c-7e5b58184a2a" providerId="ADAL" clId="{C66116D1-FF33-4208-A776-57FC8BAF96E0}" dt="2022-06-01T22:16:06.755" v="2109" actId="478"/>
          <ac:picMkLst>
            <pc:docMk/>
            <pc:sldMk cId="1553596990" sldId="2146846138"/>
            <ac:picMk id="5" creationId="{F2736BDF-AA06-4AF1-956C-3C3044EADD66}"/>
          </ac:picMkLst>
        </pc:picChg>
        <pc:picChg chg="add mod">
          <ac:chgData name="Katerine Schifino" userId="37bb67de-9fcf-4611-888c-7e5b58184a2a" providerId="ADAL" clId="{C66116D1-FF33-4208-A776-57FC8BAF96E0}" dt="2022-06-01T22:16:21.139" v="2113" actId="27614"/>
          <ac:picMkLst>
            <pc:docMk/>
            <pc:sldMk cId="1553596990" sldId="2146846138"/>
            <ac:picMk id="6" creationId="{3DC75079-5F8F-47D7-8D9B-B8FA87B630F7}"/>
          </ac:picMkLst>
        </pc:picChg>
      </pc:sldChg>
      <pc:sldChg chg="addSp delSp modSp mod">
        <pc:chgData name="Katerine Schifino" userId="37bb67de-9fcf-4611-888c-7e5b58184a2a" providerId="ADAL" clId="{C66116D1-FF33-4208-A776-57FC8BAF96E0}" dt="2022-06-01T20:37:35.366" v="166" actId="12"/>
        <pc:sldMkLst>
          <pc:docMk/>
          <pc:sldMk cId="3440500009" sldId="2146846144"/>
        </pc:sldMkLst>
        <pc:spChg chg="mod">
          <ac:chgData name="Katerine Schifino" userId="37bb67de-9fcf-4611-888c-7e5b58184a2a" providerId="ADAL" clId="{C66116D1-FF33-4208-A776-57FC8BAF96E0}" dt="2022-06-01T20:37:35.366" v="166" actId="12"/>
          <ac:spMkLst>
            <pc:docMk/>
            <pc:sldMk cId="3440500009" sldId="2146846144"/>
            <ac:spMk id="7" creationId="{B0290C45-3A24-4347-9573-04B02FDC4684}"/>
          </ac:spMkLst>
        </pc:spChg>
        <pc:graphicFrameChg chg="mod">
          <ac:chgData name="Katerine Schifino" userId="37bb67de-9fcf-4611-888c-7e5b58184a2a" providerId="ADAL" clId="{C66116D1-FF33-4208-A776-57FC8BAF96E0}" dt="2022-06-01T20:32:28.679" v="60" actId="2084"/>
          <ac:graphicFrameMkLst>
            <pc:docMk/>
            <pc:sldMk cId="3440500009" sldId="2146846144"/>
            <ac:graphicFrameMk id="2" creationId="{C27C56E9-D20A-43EE-B6B4-67FF1334D687}"/>
          </ac:graphicFrameMkLst>
        </pc:graphicFrameChg>
        <pc:graphicFrameChg chg="add del mod modGraphic">
          <ac:chgData name="Katerine Schifino" userId="37bb67de-9fcf-4611-888c-7e5b58184a2a" providerId="ADAL" clId="{C66116D1-FF33-4208-A776-57FC8BAF96E0}" dt="2022-06-01T20:36:24.967" v="156" actId="1032"/>
          <ac:graphicFrameMkLst>
            <pc:docMk/>
            <pc:sldMk cId="3440500009" sldId="2146846144"/>
            <ac:graphicFrameMk id="4" creationId="{4E53820B-0AED-4296-9967-D94A2765A4CE}"/>
          </ac:graphicFrameMkLst>
        </pc:graphicFrameChg>
        <pc:picChg chg="add del mod">
          <ac:chgData name="Katerine Schifino" userId="37bb67de-9fcf-4611-888c-7e5b58184a2a" providerId="ADAL" clId="{C66116D1-FF33-4208-A776-57FC8BAF96E0}" dt="2022-06-01T20:28:31.915" v="25" actId="478"/>
          <ac:picMkLst>
            <pc:docMk/>
            <pc:sldMk cId="3440500009" sldId="2146846144"/>
            <ac:picMk id="7170" creationId="{90DF7CF2-C543-43CA-8705-33A9258B454B}"/>
          </ac:picMkLst>
        </pc:picChg>
        <pc:picChg chg="add del mod">
          <ac:chgData name="Katerine Schifino" userId="37bb67de-9fcf-4611-888c-7e5b58184a2a" providerId="ADAL" clId="{C66116D1-FF33-4208-A776-57FC8BAF96E0}" dt="2022-06-01T20:31:07.315" v="38" actId="478"/>
          <ac:picMkLst>
            <pc:docMk/>
            <pc:sldMk cId="3440500009" sldId="2146846144"/>
            <ac:picMk id="7172" creationId="{6B969545-F8F7-45A2-B7BC-D975198FBAE8}"/>
          </ac:picMkLst>
        </pc:picChg>
        <pc:picChg chg="add mod">
          <ac:chgData name="Katerine Schifino" userId="37bb67de-9fcf-4611-888c-7e5b58184a2a" providerId="ADAL" clId="{C66116D1-FF33-4208-A776-57FC8BAF96E0}" dt="2022-06-01T20:32:23.244" v="58" actId="1076"/>
          <ac:picMkLst>
            <pc:docMk/>
            <pc:sldMk cId="3440500009" sldId="2146846144"/>
            <ac:picMk id="7174" creationId="{F805AC25-F286-4FDB-847B-2CD22778F970}"/>
          </ac:picMkLst>
        </pc:picChg>
        <pc:picChg chg="add mod">
          <ac:chgData name="Katerine Schifino" userId="37bb67de-9fcf-4611-888c-7e5b58184a2a" providerId="ADAL" clId="{C66116D1-FF33-4208-A776-57FC8BAF96E0}" dt="2022-06-01T20:32:06.908" v="52" actId="1076"/>
          <ac:picMkLst>
            <pc:docMk/>
            <pc:sldMk cId="3440500009" sldId="2146846144"/>
            <ac:picMk id="7176" creationId="{F3E1C0CD-E4B4-4563-9E83-4EEE3C5764D6}"/>
          </ac:picMkLst>
        </pc:picChg>
        <pc:picChg chg="add mod">
          <ac:chgData name="Katerine Schifino" userId="37bb67de-9fcf-4611-888c-7e5b58184a2a" providerId="ADAL" clId="{C66116D1-FF33-4208-A776-57FC8BAF96E0}" dt="2022-06-01T20:33:19.585" v="65" actId="1076"/>
          <ac:picMkLst>
            <pc:docMk/>
            <pc:sldMk cId="3440500009" sldId="2146846144"/>
            <ac:picMk id="7178" creationId="{9F1E4BF3-5252-4E2B-B41A-26E1DCBC78C9}"/>
          </ac:picMkLst>
        </pc:picChg>
      </pc:sldChg>
      <pc:sldChg chg="addSp modSp mod">
        <pc:chgData name="Katerine Schifino" userId="37bb67de-9fcf-4611-888c-7e5b58184a2a" providerId="ADAL" clId="{C66116D1-FF33-4208-A776-57FC8BAF96E0}" dt="2022-06-01T20:41:56.275" v="270" actId="207"/>
        <pc:sldMkLst>
          <pc:docMk/>
          <pc:sldMk cId="1852137981" sldId="2146846145"/>
        </pc:sldMkLst>
        <pc:spChg chg="add mod">
          <ac:chgData name="Katerine Schifino" userId="37bb67de-9fcf-4611-888c-7e5b58184a2a" providerId="ADAL" clId="{C66116D1-FF33-4208-A776-57FC8BAF96E0}" dt="2022-06-01T20:40:51.290" v="234" actId="1076"/>
          <ac:spMkLst>
            <pc:docMk/>
            <pc:sldMk cId="1852137981" sldId="2146846145"/>
            <ac:spMk id="3" creationId="{DD5357B5-76B7-46D8-B2F1-84B50F974A13}"/>
          </ac:spMkLst>
        </pc:spChg>
        <pc:spChg chg="add mod">
          <ac:chgData name="Katerine Schifino" userId="37bb67de-9fcf-4611-888c-7e5b58184a2a" providerId="ADAL" clId="{C66116D1-FF33-4208-A776-57FC8BAF96E0}" dt="2022-06-01T20:41:25.232" v="264" actId="1036"/>
          <ac:spMkLst>
            <pc:docMk/>
            <pc:sldMk cId="1852137981" sldId="2146846145"/>
            <ac:spMk id="6" creationId="{5A033FC9-8689-4DD9-8D3B-CE793F4CD056}"/>
          </ac:spMkLst>
        </pc:spChg>
        <pc:spChg chg="mod">
          <ac:chgData name="Katerine Schifino" userId="37bb67de-9fcf-4611-888c-7e5b58184a2a" providerId="ADAL" clId="{C66116D1-FF33-4208-A776-57FC8BAF96E0}" dt="2022-06-01T20:40:14.247" v="222" actId="6549"/>
          <ac:spMkLst>
            <pc:docMk/>
            <pc:sldMk cId="1852137981" sldId="2146846145"/>
            <ac:spMk id="7" creationId="{B0290C45-3A24-4347-9573-04B02FDC4684}"/>
          </ac:spMkLst>
        </pc:spChg>
        <pc:spChg chg="add mod">
          <ac:chgData name="Katerine Schifino" userId="37bb67de-9fcf-4611-888c-7e5b58184a2a" providerId="ADAL" clId="{C66116D1-FF33-4208-A776-57FC8BAF96E0}" dt="2022-06-01T20:41:09.543" v="243" actId="20577"/>
          <ac:spMkLst>
            <pc:docMk/>
            <pc:sldMk cId="1852137981" sldId="2146846145"/>
            <ac:spMk id="8" creationId="{054B793C-279F-4377-A9BE-6C9BE10EA4F5}"/>
          </ac:spMkLst>
        </pc:spChg>
        <pc:spChg chg="add mod">
          <ac:chgData name="Katerine Schifino" userId="37bb67de-9fcf-4611-888c-7e5b58184a2a" providerId="ADAL" clId="{C66116D1-FF33-4208-A776-57FC8BAF96E0}" dt="2022-06-01T20:41:25.232" v="264" actId="1036"/>
          <ac:spMkLst>
            <pc:docMk/>
            <pc:sldMk cId="1852137981" sldId="2146846145"/>
            <ac:spMk id="9" creationId="{30B6EA8D-636C-4EC5-8FE7-05A08846576C}"/>
          </ac:spMkLst>
        </pc:spChg>
        <pc:graphicFrameChg chg="add mod modGraphic">
          <ac:chgData name="Katerine Schifino" userId="37bb67de-9fcf-4611-888c-7e5b58184a2a" providerId="ADAL" clId="{C66116D1-FF33-4208-A776-57FC8BAF96E0}" dt="2022-06-01T20:41:56.275" v="270" actId="207"/>
          <ac:graphicFrameMkLst>
            <pc:docMk/>
            <pc:sldMk cId="1852137981" sldId="2146846145"/>
            <ac:graphicFrameMk id="2" creationId="{2156A4BE-9923-4E4A-94E1-0EAC857A9BAC}"/>
          </ac:graphicFrameMkLst>
        </pc:graphicFrameChg>
      </pc:sldChg>
      <pc:sldChg chg="modSp mod">
        <pc:chgData name="Katerine Schifino" userId="37bb67de-9fcf-4611-888c-7e5b58184a2a" providerId="ADAL" clId="{C66116D1-FF33-4208-A776-57FC8BAF96E0}" dt="2022-06-01T22:14:26.612" v="2100" actId="20577"/>
        <pc:sldMkLst>
          <pc:docMk/>
          <pc:sldMk cId="3872794362" sldId="2146846188"/>
        </pc:sldMkLst>
        <pc:spChg chg="mod">
          <ac:chgData name="Katerine Schifino" userId="37bb67de-9fcf-4611-888c-7e5b58184a2a" providerId="ADAL" clId="{C66116D1-FF33-4208-A776-57FC8BAF96E0}" dt="2022-06-01T22:14:26.612" v="2100" actId="20577"/>
          <ac:spMkLst>
            <pc:docMk/>
            <pc:sldMk cId="3872794362" sldId="2146846188"/>
            <ac:spMk id="4" creationId="{2ED80763-D8A0-45A2-9778-83954983BC11}"/>
          </ac:spMkLst>
        </pc:spChg>
      </pc:sldChg>
      <pc:sldChg chg="addSp delSp modSp mod">
        <pc:chgData name="Katerine Schifino" userId="37bb67de-9fcf-4611-888c-7e5b58184a2a" providerId="ADAL" clId="{C66116D1-FF33-4208-A776-57FC8BAF96E0}" dt="2022-06-01T20:27:04.432" v="20" actId="207"/>
        <pc:sldMkLst>
          <pc:docMk/>
          <pc:sldMk cId="2968486713" sldId="2146846192"/>
        </pc:sldMkLst>
        <pc:picChg chg="add mod modCrop">
          <ac:chgData name="Katerine Schifino" userId="37bb67de-9fcf-4611-888c-7e5b58184a2a" providerId="ADAL" clId="{C66116D1-FF33-4208-A776-57FC8BAF96E0}" dt="2022-06-01T20:27:04.432" v="20" actId="207"/>
          <ac:picMkLst>
            <pc:docMk/>
            <pc:sldMk cId="2968486713" sldId="2146846192"/>
            <ac:picMk id="3" creationId="{ECCD6DD9-0F71-4104-B9A7-CCB3D51FB049}"/>
          </ac:picMkLst>
        </pc:picChg>
        <pc:picChg chg="del mod">
          <ac:chgData name="Katerine Schifino" userId="37bb67de-9fcf-4611-888c-7e5b58184a2a" providerId="ADAL" clId="{C66116D1-FF33-4208-A776-57FC8BAF96E0}" dt="2022-06-01T20:14:04.955" v="3" actId="478"/>
          <ac:picMkLst>
            <pc:docMk/>
            <pc:sldMk cId="2968486713" sldId="2146846192"/>
            <ac:picMk id="37" creationId="{927E7FAF-1AA4-4353-92CD-77D8E4BBD7C3}"/>
          </ac:picMkLst>
        </pc:picChg>
      </pc:sldChg>
      <pc:sldChg chg="delSp modSp add del mod">
        <pc:chgData name="Katerine Schifino" userId="37bb67de-9fcf-4611-888c-7e5b58184a2a" providerId="ADAL" clId="{C66116D1-FF33-4208-A776-57FC8BAF96E0}" dt="2022-06-01T20:43:06.244" v="282" actId="47"/>
        <pc:sldMkLst>
          <pc:docMk/>
          <pc:sldMk cId="3005449239" sldId="2146846195"/>
        </pc:sldMkLst>
        <pc:spChg chg="del">
          <ac:chgData name="Katerine Schifino" userId="37bb67de-9fcf-4611-888c-7e5b58184a2a" providerId="ADAL" clId="{C66116D1-FF33-4208-A776-57FC8BAF96E0}" dt="2022-06-01T20:15:42.923" v="9" actId="478"/>
          <ac:spMkLst>
            <pc:docMk/>
            <pc:sldMk cId="3005449239" sldId="2146846195"/>
            <ac:spMk id="9" creationId="{A89F78CA-912F-482C-BF87-C19EF93A26BC}"/>
          </ac:spMkLst>
        </pc:spChg>
        <pc:spChg chg="del">
          <ac:chgData name="Katerine Schifino" userId="37bb67de-9fcf-4611-888c-7e5b58184a2a" providerId="ADAL" clId="{C66116D1-FF33-4208-A776-57FC8BAF96E0}" dt="2022-06-01T20:15:42.923" v="9" actId="478"/>
          <ac:spMkLst>
            <pc:docMk/>
            <pc:sldMk cId="3005449239" sldId="2146846195"/>
            <ac:spMk id="13" creationId="{74B3DBF6-7C47-46BB-923B-DE7F2196C60D}"/>
          </ac:spMkLst>
        </pc:spChg>
        <pc:spChg chg="del">
          <ac:chgData name="Katerine Schifino" userId="37bb67de-9fcf-4611-888c-7e5b58184a2a" providerId="ADAL" clId="{C66116D1-FF33-4208-A776-57FC8BAF96E0}" dt="2022-06-01T20:15:42.923" v="9" actId="478"/>
          <ac:spMkLst>
            <pc:docMk/>
            <pc:sldMk cId="3005449239" sldId="2146846195"/>
            <ac:spMk id="16" creationId="{91ED6617-3ABA-4373-BEBF-8246874EC35C}"/>
          </ac:spMkLst>
        </pc:spChg>
        <pc:spChg chg="del">
          <ac:chgData name="Katerine Schifino" userId="37bb67de-9fcf-4611-888c-7e5b58184a2a" providerId="ADAL" clId="{C66116D1-FF33-4208-A776-57FC8BAF96E0}" dt="2022-06-01T20:15:42.923" v="9" actId="478"/>
          <ac:spMkLst>
            <pc:docMk/>
            <pc:sldMk cId="3005449239" sldId="2146846195"/>
            <ac:spMk id="17" creationId="{C5F95D62-9EB9-4C01-AA92-4F34FF534393}"/>
          </ac:spMkLst>
        </pc:spChg>
        <pc:spChg chg="del">
          <ac:chgData name="Katerine Schifino" userId="37bb67de-9fcf-4611-888c-7e5b58184a2a" providerId="ADAL" clId="{C66116D1-FF33-4208-A776-57FC8BAF96E0}" dt="2022-06-01T20:15:42.923" v="9" actId="478"/>
          <ac:spMkLst>
            <pc:docMk/>
            <pc:sldMk cId="3005449239" sldId="2146846195"/>
            <ac:spMk id="18" creationId="{99AAD9F0-114B-45A3-9537-8D6C6CD9F0E6}"/>
          </ac:spMkLst>
        </pc:spChg>
        <pc:spChg chg="del">
          <ac:chgData name="Katerine Schifino" userId="37bb67de-9fcf-4611-888c-7e5b58184a2a" providerId="ADAL" clId="{C66116D1-FF33-4208-A776-57FC8BAF96E0}" dt="2022-06-01T20:15:42.923" v="9" actId="478"/>
          <ac:spMkLst>
            <pc:docMk/>
            <pc:sldMk cId="3005449239" sldId="2146846195"/>
            <ac:spMk id="19" creationId="{A29FCCBD-FF7B-4D38-BF7D-AE32D21EE252}"/>
          </ac:spMkLst>
        </pc:spChg>
        <pc:spChg chg="mod">
          <ac:chgData name="Katerine Schifino" userId="37bb67de-9fcf-4611-888c-7e5b58184a2a" providerId="ADAL" clId="{C66116D1-FF33-4208-A776-57FC8BAF96E0}" dt="2022-06-01T20:15:34.688" v="8" actId="20577"/>
          <ac:spMkLst>
            <pc:docMk/>
            <pc:sldMk cId="3005449239" sldId="2146846195"/>
            <ac:spMk id="24" creationId="{C9CA2B5E-DC52-4C6B-9115-2A865EC2DE62}"/>
          </ac:spMkLst>
        </pc:spChg>
        <pc:picChg chg="del">
          <ac:chgData name="Katerine Schifino" userId="37bb67de-9fcf-4611-888c-7e5b58184a2a" providerId="ADAL" clId="{C66116D1-FF33-4208-A776-57FC8BAF96E0}" dt="2022-06-01T20:15:42.923" v="9" actId="478"/>
          <ac:picMkLst>
            <pc:docMk/>
            <pc:sldMk cId="3005449239" sldId="2146846195"/>
            <ac:picMk id="7172" creationId="{06A482B7-E6CD-41B3-B2D4-F3755A7DBD26}"/>
          </ac:picMkLst>
        </pc:picChg>
        <pc:picChg chg="del">
          <ac:chgData name="Katerine Schifino" userId="37bb67de-9fcf-4611-888c-7e5b58184a2a" providerId="ADAL" clId="{C66116D1-FF33-4208-A776-57FC8BAF96E0}" dt="2022-06-01T20:15:42.923" v="9" actId="478"/>
          <ac:picMkLst>
            <pc:docMk/>
            <pc:sldMk cId="3005449239" sldId="2146846195"/>
            <ac:picMk id="7174" creationId="{0AB49698-9015-49D0-955D-A25DBF1773F6}"/>
          </ac:picMkLst>
        </pc:picChg>
      </pc:sldChg>
      <pc:sldChg chg="add del">
        <pc:chgData name="Katerine Schifino" userId="37bb67de-9fcf-4611-888c-7e5b58184a2a" providerId="ADAL" clId="{C66116D1-FF33-4208-A776-57FC8BAF96E0}" dt="2022-06-01T21:04:09.595" v="287" actId="47"/>
        <pc:sldMkLst>
          <pc:docMk/>
          <pc:sldMk cId="3091330721" sldId="2146846196"/>
        </pc:sldMkLst>
      </pc:sldChg>
      <pc:sldChg chg="add del">
        <pc:chgData name="Katerine Schifino" userId="37bb67de-9fcf-4611-888c-7e5b58184a2a" providerId="ADAL" clId="{C66116D1-FF33-4208-A776-57FC8BAF96E0}" dt="2022-06-01T20:43:04.758" v="281" actId="47"/>
        <pc:sldMkLst>
          <pc:docMk/>
          <pc:sldMk cId="795868765" sldId="2146846197"/>
        </pc:sldMkLst>
      </pc:sldChg>
      <pc:sldChg chg="add del">
        <pc:chgData name="Katerine Schifino" userId="37bb67de-9fcf-4611-888c-7e5b58184a2a" providerId="ADAL" clId="{C66116D1-FF33-4208-A776-57FC8BAF96E0}" dt="2022-06-01T21:04:10.095" v="288" actId="47"/>
        <pc:sldMkLst>
          <pc:docMk/>
          <pc:sldMk cId="1073405926" sldId="2146846197"/>
        </pc:sldMkLst>
      </pc:sldChg>
      <pc:sldChg chg="add del">
        <pc:chgData name="Katerine Schifino" userId="37bb67de-9fcf-4611-888c-7e5b58184a2a" providerId="ADAL" clId="{C66116D1-FF33-4208-A776-57FC8BAF96E0}" dt="2022-06-01T20:43:01.148" v="277" actId="47"/>
        <pc:sldMkLst>
          <pc:docMk/>
          <pc:sldMk cId="458682253" sldId="2146846198"/>
        </pc:sldMkLst>
      </pc:sldChg>
      <pc:sldChg chg="add del">
        <pc:chgData name="Katerine Schifino" userId="37bb67de-9fcf-4611-888c-7e5b58184a2a" providerId="ADAL" clId="{C66116D1-FF33-4208-A776-57FC8BAF96E0}" dt="2022-06-01T21:04:10.253" v="289" actId="47"/>
        <pc:sldMkLst>
          <pc:docMk/>
          <pc:sldMk cId="3329422670" sldId="2146846198"/>
        </pc:sldMkLst>
      </pc:sldChg>
      <pc:sldChg chg="add del">
        <pc:chgData name="Katerine Schifino" userId="37bb67de-9fcf-4611-888c-7e5b58184a2a" providerId="ADAL" clId="{C66116D1-FF33-4208-A776-57FC8BAF96E0}" dt="2022-06-01T21:04:12.774" v="290" actId="47"/>
        <pc:sldMkLst>
          <pc:docMk/>
          <pc:sldMk cId="3461398178" sldId="2146846199"/>
        </pc:sldMkLst>
      </pc:sldChg>
      <pc:sldChg chg="add del">
        <pc:chgData name="Katerine Schifino" userId="37bb67de-9fcf-4611-888c-7e5b58184a2a" providerId="ADAL" clId="{C66116D1-FF33-4208-A776-57FC8BAF96E0}" dt="2022-06-01T20:43:01.354" v="278" actId="47"/>
        <pc:sldMkLst>
          <pc:docMk/>
          <pc:sldMk cId="3710799013" sldId="2146846199"/>
        </pc:sldMkLst>
      </pc:sldChg>
      <pc:sldChg chg="add del">
        <pc:chgData name="Katerine Schifino" userId="37bb67de-9fcf-4611-888c-7e5b58184a2a" providerId="ADAL" clId="{C66116D1-FF33-4208-A776-57FC8BAF96E0}" dt="2022-06-01T20:43:01.512" v="279" actId="47"/>
        <pc:sldMkLst>
          <pc:docMk/>
          <pc:sldMk cId="1299543029" sldId="2146846200"/>
        </pc:sldMkLst>
      </pc:sldChg>
      <pc:sldChg chg="addSp delSp modSp add mod">
        <pc:chgData name="Katerine Schifino" userId="37bb67de-9fcf-4611-888c-7e5b58184a2a" providerId="ADAL" clId="{C66116D1-FF33-4208-A776-57FC8BAF96E0}" dt="2022-06-01T21:48:57.899" v="1426"/>
        <pc:sldMkLst>
          <pc:docMk/>
          <pc:sldMk cId="1701351180" sldId="2146846200"/>
        </pc:sldMkLst>
        <pc:spChg chg="add mod">
          <ac:chgData name="Katerine Schifino" userId="37bb67de-9fcf-4611-888c-7e5b58184a2a" providerId="ADAL" clId="{C66116D1-FF33-4208-A776-57FC8BAF96E0}" dt="2022-06-01T21:19:02.647" v="584" actId="1076"/>
          <ac:spMkLst>
            <pc:docMk/>
            <pc:sldMk cId="1701351180" sldId="2146846200"/>
            <ac:spMk id="3" creationId="{7BB89301-BF9F-4CA5-8881-888F0FE481A7}"/>
          </ac:spMkLst>
        </pc:spChg>
        <pc:spChg chg="add del mod">
          <ac:chgData name="Katerine Schifino" userId="37bb67de-9fcf-4611-888c-7e5b58184a2a" providerId="ADAL" clId="{C66116D1-FF33-4208-A776-57FC8BAF96E0}" dt="2022-06-01T21:16:31.820" v="547" actId="478"/>
          <ac:spMkLst>
            <pc:docMk/>
            <pc:sldMk cId="1701351180" sldId="2146846200"/>
            <ac:spMk id="4" creationId="{AD6716DC-2A5C-4293-B902-D7CAFC7A9CF1}"/>
          </ac:spMkLst>
        </pc:spChg>
        <pc:spChg chg="add mod">
          <ac:chgData name="Katerine Schifino" userId="37bb67de-9fcf-4611-888c-7e5b58184a2a" providerId="ADAL" clId="{C66116D1-FF33-4208-A776-57FC8BAF96E0}" dt="2022-06-01T21:11:25.274" v="415" actId="20577"/>
          <ac:spMkLst>
            <pc:docMk/>
            <pc:sldMk cId="1701351180" sldId="2146846200"/>
            <ac:spMk id="5" creationId="{F3F5B77B-C5B7-467A-B39D-86CFB13FDDC7}"/>
          </ac:spMkLst>
        </pc:spChg>
        <pc:spChg chg="add mod">
          <ac:chgData name="Katerine Schifino" userId="37bb67de-9fcf-4611-888c-7e5b58184a2a" providerId="ADAL" clId="{C66116D1-FF33-4208-A776-57FC8BAF96E0}" dt="2022-06-01T21:13:07.567" v="530" actId="1076"/>
          <ac:spMkLst>
            <pc:docMk/>
            <pc:sldMk cId="1701351180" sldId="2146846200"/>
            <ac:spMk id="7" creationId="{D26D72DD-8DF0-4733-A3C8-76B0DBD004B8}"/>
          </ac:spMkLst>
        </pc:spChg>
        <pc:spChg chg="mod">
          <ac:chgData name="Katerine Schifino" userId="37bb67de-9fcf-4611-888c-7e5b58184a2a" providerId="ADAL" clId="{C66116D1-FF33-4208-A776-57FC8BAF96E0}" dt="2022-06-01T21:48:57.899" v="1426"/>
          <ac:spMkLst>
            <pc:docMk/>
            <pc:sldMk cId="1701351180" sldId="2146846200"/>
            <ac:spMk id="10" creationId="{7633BA57-306C-4D62-87B7-9DC7817442B3}"/>
          </ac:spMkLst>
        </pc:spChg>
        <pc:spChg chg="mod">
          <ac:chgData name="Katerine Schifino" userId="37bb67de-9fcf-4611-888c-7e5b58184a2a" providerId="ADAL" clId="{C66116D1-FF33-4208-A776-57FC8BAF96E0}" dt="2022-06-01T21:08:56.383" v="370" actId="20577"/>
          <ac:spMkLst>
            <pc:docMk/>
            <pc:sldMk cId="1701351180" sldId="2146846200"/>
            <ac:spMk id="23" creationId="{597FF9D1-F615-46B8-82C4-43A456BE5991}"/>
          </ac:spMkLst>
        </pc:spChg>
        <pc:spChg chg="add mod">
          <ac:chgData name="Katerine Schifino" userId="37bb67de-9fcf-4611-888c-7e5b58184a2a" providerId="ADAL" clId="{C66116D1-FF33-4208-A776-57FC8BAF96E0}" dt="2022-06-01T21:19:18.910" v="606" actId="1076"/>
          <ac:spMkLst>
            <pc:docMk/>
            <pc:sldMk cId="1701351180" sldId="2146846200"/>
            <ac:spMk id="26" creationId="{E2892603-AD1B-4BA5-A286-1C8E0A5DD61D}"/>
          </ac:spMkLst>
        </pc:spChg>
        <pc:spChg chg="add mod">
          <ac:chgData name="Katerine Schifino" userId="37bb67de-9fcf-4611-888c-7e5b58184a2a" providerId="ADAL" clId="{C66116D1-FF33-4208-A776-57FC8BAF96E0}" dt="2022-06-01T21:19:25.320" v="621" actId="20577"/>
          <ac:spMkLst>
            <pc:docMk/>
            <pc:sldMk cId="1701351180" sldId="2146846200"/>
            <ac:spMk id="27" creationId="{60970E43-2B70-45BD-87A9-E6C1CAE62238}"/>
          </ac:spMkLst>
        </pc:spChg>
        <pc:spChg chg="add mod">
          <ac:chgData name="Katerine Schifino" userId="37bb67de-9fcf-4611-888c-7e5b58184a2a" providerId="ADAL" clId="{C66116D1-FF33-4208-A776-57FC8BAF96E0}" dt="2022-06-01T21:19:48.899" v="631" actId="20577"/>
          <ac:spMkLst>
            <pc:docMk/>
            <pc:sldMk cId="1701351180" sldId="2146846200"/>
            <ac:spMk id="28" creationId="{0E7F086D-7828-43F2-A59B-F74AF5A43B31}"/>
          </ac:spMkLst>
        </pc:spChg>
        <pc:grpChg chg="add mod">
          <ac:chgData name="Katerine Schifino" userId="37bb67de-9fcf-4611-888c-7e5b58184a2a" providerId="ADAL" clId="{C66116D1-FF33-4208-A776-57FC8BAF96E0}" dt="2022-06-01T21:19:02.647" v="584" actId="1076"/>
          <ac:grpSpMkLst>
            <pc:docMk/>
            <pc:sldMk cId="1701351180" sldId="2146846200"/>
            <ac:grpSpMk id="11" creationId="{6346918C-5AB0-4C33-A6F0-48AE0243CF57}"/>
          </ac:grpSpMkLst>
        </pc:grpChg>
        <pc:picChg chg="add mod">
          <ac:chgData name="Katerine Schifino" userId="37bb67de-9fcf-4611-888c-7e5b58184a2a" providerId="ADAL" clId="{C66116D1-FF33-4208-A776-57FC8BAF96E0}" dt="2022-06-01T21:19:02.647" v="584" actId="1076"/>
          <ac:picMkLst>
            <pc:docMk/>
            <pc:sldMk cId="1701351180" sldId="2146846200"/>
            <ac:picMk id="8194" creationId="{786C47B1-66A2-4575-9D1F-1C6C3260AE9F}"/>
          </ac:picMkLst>
        </pc:picChg>
        <pc:picChg chg="add del">
          <ac:chgData name="Katerine Schifino" userId="37bb67de-9fcf-4611-888c-7e5b58184a2a" providerId="ADAL" clId="{C66116D1-FF33-4208-A776-57FC8BAF96E0}" dt="2022-06-01T21:15:47.217" v="535" actId="478"/>
          <ac:picMkLst>
            <pc:docMk/>
            <pc:sldMk cId="1701351180" sldId="2146846200"/>
            <ac:picMk id="8196" creationId="{67776943-75D5-4F58-8023-2B8C844C02EE}"/>
          </ac:picMkLst>
        </pc:picChg>
        <pc:picChg chg="add mod">
          <ac:chgData name="Katerine Schifino" userId="37bb67de-9fcf-4611-888c-7e5b58184a2a" providerId="ADAL" clId="{C66116D1-FF33-4208-A776-57FC8BAF96E0}" dt="2022-06-01T21:18:31.260" v="580" actId="1076"/>
          <ac:picMkLst>
            <pc:docMk/>
            <pc:sldMk cId="1701351180" sldId="2146846200"/>
            <ac:picMk id="8198" creationId="{AE9438FE-3D8E-471B-8DB5-2E0CC48B23A1}"/>
          </ac:picMkLst>
        </pc:picChg>
        <pc:picChg chg="add mod">
          <ac:chgData name="Katerine Schifino" userId="37bb67de-9fcf-4611-888c-7e5b58184a2a" providerId="ADAL" clId="{C66116D1-FF33-4208-A776-57FC8BAF96E0}" dt="2022-06-01T21:19:01.018" v="583" actId="1076"/>
          <ac:picMkLst>
            <pc:docMk/>
            <pc:sldMk cId="1701351180" sldId="2146846200"/>
            <ac:picMk id="8200" creationId="{4C27BE58-DB1B-48D9-B24E-D0A106B5896B}"/>
          </ac:picMkLst>
        </pc:picChg>
        <pc:cxnChg chg="add mod">
          <ac:chgData name="Katerine Schifino" userId="37bb67de-9fcf-4611-888c-7e5b58184a2a" providerId="ADAL" clId="{C66116D1-FF33-4208-A776-57FC8BAF96E0}" dt="2022-06-01T21:19:02.647" v="584" actId="1076"/>
          <ac:cxnSpMkLst>
            <pc:docMk/>
            <pc:sldMk cId="1701351180" sldId="2146846200"/>
            <ac:cxnSpMk id="8" creationId="{D35C88A6-BB2C-4CB4-BBD4-B99DAF675A11}"/>
          </ac:cxnSpMkLst>
        </pc:cxnChg>
        <pc:cxnChg chg="add mod">
          <ac:chgData name="Katerine Schifino" userId="37bb67de-9fcf-4611-888c-7e5b58184a2a" providerId="ADAL" clId="{C66116D1-FF33-4208-A776-57FC8BAF96E0}" dt="2022-06-01T21:19:02.647" v="584" actId="1076"/>
          <ac:cxnSpMkLst>
            <pc:docMk/>
            <pc:sldMk cId="1701351180" sldId="2146846200"/>
            <ac:cxnSpMk id="14" creationId="{F5B2B243-3E2F-45BC-9267-121F04AC352A}"/>
          </ac:cxnSpMkLst>
        </pc:cxnChg>
        <pc:cxnChg chg="add mod">
          <ac:chgData name="Katerine Schifino" userId="37bb67de-9fcf-4611-888c-7e5b58184a2a" providerId="ADAL" clId="{C66116D1-FF33-4208-A776-57FC8BAF96E0}" dt="2022-06-01T21:19:02.647" v="584" actId="1076"/>
          <ac:cxnSpMkLst>
            <pc:docMk/>
            <pc:sldMk cId="1701351180" sldId="2146846200"/>
            <ac:cxnSpMk id="15" creationId="{17BD3FD3-367F-4FB8-B573-D1BF43153228}"/>
          </ac:cxnSpMkLst>
        </pc:cxnChg>
        <pc:cxnChg chg="add mod">
          <ac:chgData name="Katerine Schifino" userId="37bb67de-9fcf-4611-888c-7e5b58184a2a" providerId="ADAL" clId="{C66116D1-FF33-4208-A776-57FC8BAF96E0}" dt="2022-06-01T21:19:02.647" v="584" actId="1076"/>
          <ac:cxnSpMkLst>
            <pc:docMk/>
            <pc:sldMk cId="1701351180" sldId="2146846200"/>
            <ac:cxnSpMk id="16" creationId="{1542C302-6D33-4E78-BE8F-E985A3D0EBB6}"/>
          </ac:cxnSpMkLst>
        </pc:cxnChg>
        <pc:cxnChg chg="add mod">
          <ac:chgData name="Katerine Schifino" userId="37bb67de-9fcf-4611-888c-7e5b58184a2a" providerId="ADAL" clId="{C66116D1-FF33-4208-A776-57FC8BAF96E0}" dt="2022-06-01T21:19:02.647" v="584" actId="1076"/>
          <ac:cxnSpMkLst>
            <pc:docMk/>
            <pc:sldMk cId="1701351180" sldId="2146846200"/>
            <ac:cxnSpMk id="17" creationId="{90B87202-6117-4FE6-849F-C488E1F1DFE5}"/>
          </ac:cxnSpMkLst>
        </pc:cxnChg>
        <pc:cxnChg chg="add mod">
          <ac:chgData name="Katerine Schifino" userId="37bb67de-9fcf-4611-888c-7e5b58184a2a" providerId="ADAL" clId="{C66116D1-FF33-4208-A776-57FC8BAF96E0}" dt="2022-06-01T21:19:02.647" v="584" actId="1076"/>
          <ac:cxnSpMkLst>
            <pc:docMk/>
            <pc:sldMk cId="1701351180" sldId="2146846200"/>
            <ac:cxnSpMk id="19" creationId="{B4E14974-ABD6-4437-807F-53ECF6B4B2B7}"/>
          </ac:cxnSpMkLst>
        </pc:cxnChg>
        <pc:cxnChg chg="add mod">
          <ac:chgData name="Katerine Schifino" userId="37bb67de-9fcf-4611-888c-7e5b58184a2a" providerId="ADAL" clId="{C66116D1-FF33-4208-A776-57FC8BAF96E0}" dt="2022-06-01T21:19:02.647" v="584" actId="1076"/>
          <ac:cxnSpMkLst>
            <pc:docMk/>
            <pc:sldMk cId="1701351180" sldId="2146846200"/>
            <ac:cxnSpMk id="20" creationId="{D79D8E3E-52A2-425B-8990-E6EC0DE7DA5F}"/>
          </ac:cxnSpMkLst>
        </pc:cxnChg>
        <pc:cxnChg chg="add mod">
          <ac:chgData name="Katerine Schifino" userId="37bb67de-9fcf-4611-888c-7e5b58184a2a" providerId="ADAL" clId="{C66116D1-FF33-4208-A776-57FC8BAF96E0}" dt="2022-06-01T21:19:02.647" v="584" actId="1076"/>
          <ac:cxnSpMkLst>
            <pc:docMk/>
            <pc:sldMk cId="1701351180" sldId="2146846200"/>
            <ac:cxnSpMk id="21" creationId="{A791468B-B00D-4B1F-9420-C3235B9FB155}"/>
          </ac:cxnSpMkLst>
        </pc:cxnChg>
      </pc:sldChg>
      <pc:sldChg chg="add del">
        <pc:chgData name="Katerine Schifino" userId="37bb67de-9fcf-4611-888c-7e5b58184a2a" providerId="ADAL" clId="{C66116D1-FF33-4208-A776-57FC8BAF96E0}" dt="2022-06-01T20:43:02.318" v="280" actId="47"/>
        <pc:sldMkLst>
          <pc:docMk/>
          <pc:sldMk cId="544209581" sldId="2146846201"/>
        </pc:sldMkLst>
      </pc:sldChg>
      <pc:sldChg chg="addSp delSp modSp add mod">
        <pc:chgData name="Katerine Schifino" userId="37bb67de-9fcf-4611-888c-7e5b58184a2a" providerId="ADAL" clId="{C66116D1-FF33-4208-A776-57FC8BAF96E0}" dt="2022-06-01T21:48:55.539" v="1425"/>
        <pc:sldMkLst>
          <pc:docMk/>
          <pc:sldMk cId="3562627161" sldId="2146846201"/>
        </pc:sldMkLst>
        <pc:spChg chg="del">
          <ac:chgData name="Katerine Schifino" userId="37bb67de-9fcf-4611-888c-7e5b58184a2a" providerId="ADAL" clId="{C66116D1-FF33-4208-A776-57FC8BAF96E0}" dt="2022-06-01T21:22:11.824" v="665" actId="21"/>
          <ac:spMkLst>
            <pc:docMk/>
            <pc:sldMk cId="3562627161" sldId="2146846201"/>
            <ac:spMk id="5" creationId="{F3F5B77B-C5B7-467A-B39D-86CFB13FDDC7}"/>
          </ac:spMkLst>
        </pc:spChg>
        <pc:spChg chg="del">
          <ac:chgData name="Katerine Schifino" userId="37bb67de-9fcf-4611-888c-7e5b58184a2a" providerId="ADAL" clId="{C66116D1-FF33-4208-A776-57FC8BAF96E0}" dt="2022-06-01T21:23:11.741" v="705" actId="478"/>
          <ac:spMkLst>
            <pc:docMk/>
            <pc:sldMk cId="3562627161" sldId="2146846201"/>
            <ac:spMk id="7" creationId="{D26D72DD-8DF0-4733-A3C8-76B0DBD004B8}"/>
          </ac:spMkLst>
        </pc:spChg>
        <pc:spChg chg="mod">
          <ac:chgData name="Katerine Schifino" userId="37bb67de-9fcf-4611-888c-7e5b58184a2a" providerId="ADAL" clId="{C66116D1-FF33-4208-A776-57FC8BAF96E0}" dt="2022-06-01T21:48:55.539" v="1425"/>
          <ac:spMkLst>
            <pc:docMk/>
            <pc:sldMk cId="3562627161" sldId="2146846201"/>
            <ac:spMk id="10" creationId="{7633BA57-306C-4D62-87B7-9DC7817442B3}"/>
          </ac:spMkLst>
        </pc:spChg>
        <pc:spChg chg="mod">
          <ac:chgData name="Katerine Schifino" userId="37bb67de-9fcf-4611-888c-7e5b58184a2a" providerId="ADAL" clId="{C66116D1-FF33-4208-A776-57FC8BAF96E0}" dt="2022-06-01T21:26:46.336" v="797" actId="1076"/>
          <ac:spMkLst>
            <pc:docMk/>
            <pc:sldMk cId="3562627161" sldId="2146846201"/>
            <ac:spMk id="23" creationId="{597FF9D1-F615-46B8-82C4-43A456BE5991}"/>
          </ac:spMkLst>
        </pc:spChg>
        <pc:spChg chg="mod">
          <ac:chgData name="Katerine Schifino" userId="37bb67de-9fcf-4611-888c-7e5b58184a2a" providerId="ADAL" clId="{C66116D1-FF33-4208-A776-57FC8BAF96E0}" dt="2022-06-01T21:21:17.541" v="646" actId="20577"/>
          <ac:spMkLst>
            <pc:docMk/>
            <pc:sldMk cId="3562627161" sldId="2146846201"/>
            <ac:spMk id="24" creationId="{C9CA2B5E-DC52-4C6B-9115-2A865EC2DE62}"/>
          </ac:spMkLst>
        </pc:spChg>
        <pc:spChg chg="del">
          <ac:chgData name="Katerine Schifino" userId="37bb67de-9fcf-4611-888c-7e5b58184a2a" providerId="ADAL" clId="{C66116D1-FF33-4208-A776-57FC8BAF96E0}" dt="2022-06-01T21:23:11.741" v="705" actId="478"/>
          <ac:spMkLst>
            <pc:docMk/>
            <pc:sldMk cId="3562627161" sldId="2146846201"/>
            <ac:spMk id="26" creationId="{E2892603-AD1B-4BA5-A286-1C8E0A5DD61D}"/>
          </ac:spMkLst>
        </pc:spChg>
        <pc:spChg chg="del">
          <ac:chgData name="Katerine Schifino" userId="37bb67de-9fcf-4611-888c-7e5b58184a2a" providerId="ADAL" clId="{C66116D1-FF33-4208-A776-57FC8BAF96E0}" dt="2022-06-01T21:23:11.741" v="705" actId="478"/>
          <ac:spMkLst>
            <pc:docMk/>
            <pc:sldMk cId="3562627161" sldId="2146846201"/>
            <ac:spMk id="27" creationId="{60970E43-2B70-45BD-87A9-E6C1CAE62238}"/>
          </ac:spMkLst>
        </pc:spChg>
        <pc:spChg chg="del">
          <ac:chgData name="Katerine Schifino" userId="37bb67de-9fcf-4611-888c-7e5b58184a2a" providerId="ADAL" clId="{C66116D1-FF33-4208-A776-57FC8BAF96E0}" dt="2022-06-01T21:23:11.741" v="705" actId="478"/>
          <ac:spMkLst>
            <pc:docMk/>
            <pc:sldMk cId="3562627161" sldId="2146846201"/>
            <ac:spMk id="28" creationId="{0E7F086D-7828-43F2-A59B-F74AF5A43B31}"/>
          </ac:spMkLst>
        </pc:spChg>
        <pc:spChg chg="add mod">
          <ac:chgData name="Katerine Schifino" userId="37bb67de-9fcf-4611-888c-7e5b58184a2a" providerId="ADAL" clId="{C66116D1-FF33-4208-A776-57FC8BAF96E0}" dt="2022-06-01T21:27:05.016" v="802"/>
          <ac:spMkLst>
            <pc:docMk/>
            <pc:sldMk cId="3562627161" sldId="2146846201"/>
            <ac:spMk id="29" creationId="{C426C0A3-7076-48B9-9298-D589D0F1CA8A}"/>
          </ac:spMkLst>
        </pc:spChg>
        <pc:spChg chg="add mod">
          <ac:chgData name="Katerine Schifino" userId="37bb67de-9fcf-4611-888c-7e5b58184a2a" providerId="ADAL" clId="{C66116D1-FF33-4208-A776-57FC8BAF96E0}" dt="2022-06-01T21:33:31.896" v="853" actId="207"/>
          <ac:spMkLst>
            <pc:docMk/>
            <pc:sldMk cId="3562627161" sldId="2146846201"/>
            <ac:spMk id="30" creationId="{B4A49147-348F-475E-BBC0-43DDE507D83D}"/>
          </ac:spMkLst>
        </pc:spChg>
        <pc:spChg chg="add mod">
          <ac:chgData name="Katerine Schifino" userId="37bb67de-9fcf-4611-888c-7e5b58184a2a" providerId="ADAL" clId="{C66116D1-FF33-4208-A776-57FC8BAF96E0}" dt="2022-06-01T21:27:15.002" v="805"/>
          <ac:spMkLst>
            <pc:docMk/>
            <pc:sldMk cId="3562627161" sldId="2146846201"/>
            <ac:spMk id="32" creationId="{344E24FF-4BFE-4F23-AB98-2B51E7317A46}"/>
          </ac:spMkLst>
        </pc:spChg>
        <pc:spChg chg="add mod">
          <ac:chgData name="Katerine Schifino" userId="37bb67de-9fcf-4611-888c-7e5b58184a2a" providerId="ADAL" clId="{C66116D1-FF33-4208-A776-57FC8BAF96E0}" dt="2022-06-01T21:33:37.191" v="855" actId="207"/>
          <ac:spMkLst>
            <pc:docMk/>
            <pc:sldMk cId="3562627161" sldId="2146846201"/>
            <ac:spMk id="33" creationId="{10C7C999-D5CA-41E2-875A-0022D5E8EF28}"/>
          </ac:spMkLst>
        </pc:spChg>
        <pc:spChg chg="add mod">
          <ac:chgData name="Katerine Schifino" userId="37bb67de-9fcf-4611-888c-7e5b58184a2a" providerId="ADAL" clId="{C66116D1-FF33-4208-A776-57FC8BAF96E0}" dt="2022-06-01T21:29:39.212" v="817" actId="242"/>
          <ac:spMkLst>
            <pc:docMk/>
            <pc:sldMk cId="3562627161" sldId="2146846201"/>
            <ac:spMk id="35" creationId="{C4241B0A-35DF-4FD5-9974-0AB99B0C13B7}"/>
          </ac:spMkLst>
        </pc:spChg>
        <pc:spChg chg="add mod">
          <ac:chgData name="Katerine Schifino" userId="37bb67de-9fcf-4611-888c-7e5b58184a2a" providerId="ADAL" clId="{C66116D1-FF33-4208-A776-57FC8BAF96E0}" dt="2022-06-01T21:33:16.135" v="848" actId="14100"/>
          <ac:spMkLst>
            <pc:docMk/>
            <pc:sldMk cId="3562627161" sldId="2146846201"/>
            <ac:spMk id="36" creationId="{9D1DD61F-DAC1-4024-9DC1-A0E99962D57F}"/>
          </ac:spMkLst>
        </pc:spChg>
        <pc:grpChg chg="del">
          <ac:chgData name="Katerine Schifino" userId="37bb67de-9fcf-4611-888c-7e5b58184a2a" providerId="ADAL" clId="{C66116D1-FF33-4208-A776-57FC8BAF96E0}" dt="2022-06-01T21:23:11.741" v="705" actId="478"/>
          <ac:grpSpMkLst>
            <pc:docMk/>
            <pc:sldMk cId="3562627161" sldId="2146846201"/>
            <ac:grpSpMk id="11" creationId="{6346918C-5AB0-4C33-A6F0-48AE0243CF57}"/>
          </ac:grpSpMkLst>
        </pc:grpChg>
        <pc:grpChg chg="add mod">
          <ac:chgData name="Katerine Schifino" userId="37bb67de-9fcf-4611-888c-7e5b58184a2a" providerId="ADAL" clId="{C66116D1-FF33-4208-A776-57FC8BAF96E0}" dt="2022-06-01T21:32:51.856" v="844" actId="1076"/>
          <ac:grpSpMkLst>
            <pc:docMk/>
            <pc:sldMk cId="3562627161" sldId="2146846201"/>
            <ac:grpSpMk id="25" creationId="{1D2E1FDC-9A57-4FAF-B8B0-08449988BBC2}"/>
          </ac:grpSpMkLst>
        </pc:grpChg>
        <pc:grpChg chg="add mod">
          <ac:chgData name="Katerine Schifino" userId="37bb67de-9fcf-4611-888c-7e5b58184a2a" providerId="ADAL" clId="{C66116D1-FF33-4208-A776-57FC8BAF96E0}" dt="2022-06-01T21:32:49.200" v="843" actId="1076"/>
          <ac:grpSpMkLst>
            <pc:docMk/>
            <pc:sldMk cId="3562627161" sldId="2146846201"/>
            <ac:grpSpMk id="31" creationId="{1441BF0E-5B34-4DFF-82F7-9860BAA14242}"/>
          </ac:grpSpMkLst>
        </pc:grpChg>
        <pc:grpChg chg="add mod">
          <ac:chgData name="Katerine Schifino" userId="37bb67de-9fcf-4611-888c-7e5b58184a2a" providerId="ADAL" clId="{C66116D1-FF33-4208-A776-57FC8BAF96E0}" dt="2022-06-01T21:32:02.824" v="831" actId="1076"/>
          <ac:grpSpMkLst>
            <pc:docMk/>
            <pc:sldMk cId="3562627161" sldId="2146846201"/>
            <ac:grpSpMk id="34" creationId="{B6CB8490-9193-41EA-96F4-A53213A81020}"/>
          </ac:grpSpMkLst>
        </pc:grpChg>
        <pc:graphicFrameChg chg="add mod modGraphic">
          <ac:chgData name="Katerine Schifino" userId="37bb67de-9fcf-4611-888c-7e5b58184a2a" providerId="ADAL" clId="{C66116D1-FF33-4208-A776-57FC8BAF96E0}" dt="2022-06-01T21:31:55.805" v="830"/>
          <ac:graphicFrameMkLst>
            <pc:docMk/>
            <pc:sldMk cId="3562627161" sldId="2146846201"/>
            <ac:graphicFrameMk id="2" creationId="{DC85F967-85F0-4798-B658-4CA67A472FA0}"/>
          </ac:graphicFrameMkLst>
        </pc:graphicFrameChg>
        <pc:picChg chg="del">
          <ac:chgData name="Katerine Schifino" userId="37bb67de-9fcf-4611-888c-7e5b58184a2a" providerId="ADAL" clId="{C66116D1-FF33-4208-A776-57FC8BAF96E0}" dt="2022-06-01T21:23:11.741" v="705" actId="478"/>
          <ac:picMkLst>
            <pc:docMk/>
            <pc:sldMk cId="3562627161" sldId="2146846201"/>
            <ac:picMk id="8198" creationId="{AE9438FE-3D8E-471B-8DB5-2E0CC48B23A1}"/>
          </ac:picMkLst>
        </pc:picChg>
        <pc:picChg chg="del">
          <ac:chgData name="Katerine Schifino" userId="37bb67de-9fcf-4611-888c-7e5b58184a2a" providerId="ADAL" clId="{C66116D1-FF33-4208-A776-57FC8BAF96E0}" dt="2022-06-01T21:23:11.741" v="705" actId="478"/>
          <ac:picMkLst>
            <pc:docMk/>
            <pc:sldMk cId="3562627161" sldId="2146846201"/>
            <ac:picMk id="8200" creationId="{4C27BE58-DB1B-48D9-B24E-D0A106B5896B}"/>
          </ac:picMkLst>
        </pc:picChg>
      </pc:sldChg>
      <pc:sldChg chg="addSp delSp modSp add mod">
        <pc:chgData name="Katerine Schifino" userId="37bb67de-9fcf-4611-888c-7e5b58184a2a" providerId="ADAL" clId="{C66116D1-FF33-4208-A776-57FC8BAF96E0}" dt="2022-06-01T22:06:46.044" v="1952" actId="12"/>
        <pc:sldMkLst>
          <pc:docMk/>
          <pc:sldMk cId="3690015844" sldId="2146846202"/>
        </pc:sldMkLst>
        <pc:spChg chg="mod">
          <ac:chgData name="Katerine Schifino" userId="37bb67de-9fcf-4611-888c-7e5b58184a2a" providerId="ADAL" clId="{C66116D1-FF33-4208-A776-57FC8BAF96E0}" dt="2022-06-01T21:54:06.925" v="1474" actId="6549"/>
          <ac:spMkLst>
            <pc:docMk/>
            <pc:sldMk cId="3690015844" sldId="2146846202"/>
            <ac:spMk id="5" creationId="{F3F5B77B-C5B7-467A-B39D-86CFB13FDDC7}"/>
          </ac:spMkLst>
        </pc:spChg>
        <pc:spChg chg="mod">
          <ac:chgData name="Katerine Schifino" userId="37bb67de-9fcf-4611-888c-7e5b58184a2a" providerId="ADAL" clId="{C66116D1-FF33-4208-A776-57FC8BAF96E0}" dt="2022-06-01T21:45:52.337" v="1372" actId="1076"/>
          <ac:spMkLst>
            <pc:docMk/>
            <pc:sldMk cId="3690015844" sldId="2146846202"/>
            <ac:spMk id="7" creationId="{D26D72DD-8DF0-4733-A3C8-76B0DBD004B8}"/>
          </ac:spMkLst>
        </pc:spChg>
        <pc:spChg chg="mod">
          <ac:chgData name="Katerine Schifino" userId="37bb67de-9fcf-4611-888c-7e5b58184a2a" providerId="ADAL" clId="{C66116D1-FF33-4208-A776-57FC8BAF96E0}" dt="2022-06-01T21:48:47.669" v="1424" actId="13926"/>
          <ac:spMkLst>
            <pc:docMk/>
            <pc:sldMk cId="3690015844" sldId="2146846202"/>
            <ac:spMk id="10" creationId="{7633BA57-306C-4D62-87B7-9DC7817442B3}"/>
          </ac:spMkLst>
        </pc:spChg>
        <pc:spChg chg="mod">
          <ac:chgData name="Katerine Schifino" userId="37bb67de-9fcf-4611-888c-7e5b58184a2a" providerId="ADAL" clId="{C66116D1-FF33-4208-A776-57FC8BAF96E0}" dt="2022-06-01T22:06:46.044" v="1952" actId="12"/>
          <ac:spMkLst>
            <pc:docMk/>
            <pc:sldMk cId="3690015844" sldId="2146846202"/>
            <ac:spMk id="23" creationId="{597FF9D1-F615-46B8-82C4-43A456BE5991}"/>
          </ac:spMkLst>
        </pc:spChg>
        <pc:spChg chg="mod">
          <ac:chgData name="Katerine Schifino" userId="37bb67de-9fcf-4611-888c-7e5b58184a2a" providerId="ADAL" clId="{C66116D1-FF33-4208-A776-57FC8BAF96E0}" dt="2022-06-01T21:34:13.258" v="875" actId="20577"/>
          <ac:spMkLst>
            <pc:docMk/>
            <pc:sldMk cId="3690015844" sldId="2146846202"/>
            <ac:spMk id="24" creationId="{C9CA2B5E-DC52-4C6B-9115-2A865EC2DE62}"/>
          </ac:spMkLst>
        </pc:spChg>
        <pc:spChg chg="add mod">
          <ac:chgData name="Katerine Schifino" userId="37bb67de-9fcf-4611-888c-7e5b58184a2a" providerId="ADAL" clId="{C66116D1-FF33-4208-A776-57FC8BAF96E0}" dt="2022-06-01T21:48:11.374" v="1395" actId="14100"/>
          <ac:spMkLst>
            <pc:docMk/>
            <pc:sldMk cId="3690015844" sldId="2146846202"/>
            <ac:spMk id="25" creationId="{4569AF6A-ED16-4E74-80E6-C0570928E4D6}"/>
          </ac:spMkLst>
        </pc:spChg>
        <pc:spChg chg="del">
          <ac:chgData name="Katerine Schifino" userId="37bb67de-9fcf-4611-888c-7e5b58184a2a" providerId="ADAL" clId="{C66116D1-FF33-4208-A776-57FC8BAF96E0}" dt="2022-06-01T21:43:41.319" v="1297" actId="478"/>
          <ac:spMkLst>
            <pc:docMk/>
            <pc:sldMk cId="3690015844" sldId="2146846202"/>
            <ac:spMk id="26" creationId="{E2892603-AD1B-4BA5-A286-1C8E0A5DD61D}"/>
          </ac:spMkLst>
        </pc:spChg>
        <pc:spChg chg="del">
          <ac:chgData name="Katerine Schifino" userId="37bb67de-9fcf-4611-888c-7e5b58184a2a" providerId="ADAL" clId="{C66116D1-FF33-4208-A776-57FC8BAF96E0}" dt="2022-06-01T21:43:41.319" v="1297" actId="478"/>
          <ac:spMkLst>
            <pc:docMk/>
            <pc:sldMk cId="3690015844" sldId="2146846202"/>
            <ac:spMk id="27" creationId="{60970E43-2B70-45BD-87A9-E6C1CAE62238}"/>
          </ac:spMkLst>
        </pc:spChg>
        <pc:spChg chg="del">
          <ac:chgData name="Katerine Schifino" userId="37bb67de-9fcf-4611-888c-7e5b58184a2a" providerId="ADAL" clId="{C66116D1-FF33-4208-A776-57FC8BAF96E0}" dt="2022-06-01T21:43:41.319" v="1297" actId="478"/>
          <ac:spMkLst>
            <pc:docMk/>
            <pc:sldMk cId="3690015844" sldId="2146846202"/>
            <ac:spMk id="28" creationId="{0E7F086D-7828-43F2-A59B-F74AF5A43B31}"/>
          </ac:spMkLst>
        </pc:spChg>
        <pc:grpChg chg="del">
          <ac:chgData name="Katerine Schifino" userId="37bb67de-9fcf-4611-888c-7e5b58184a2a" providerId="ADAL" clId="{C66116D1-FF33-4208-A776-57FC8BAF96E0}" dt="2022-06-01T21:43:41.319" v="1297" actId="478"/>
          <ac:grpSpMkLst>
            <pc:docMk/>
            <pc:sldMk cId="3690015844" sldId="2146846202"/>
            <ac:grpSpMk id="11" creationId="{6346918C-5AB0-4C33-A6F0-48AE0243CF57}"/>
          </ac:grpSpMkLst>
        </pc:grpChg>
        <pc:picChg chg="del">
          <ac:chgData name="Katerine Schifino" userId="37bb67de-9fcf-4611-888c-7e5b58184a2a" providerId="ADAL" clId="{C66116D1-FF33-4208-A776-57FC8BAF96E0}" dt="2022-06-01T21:43:41.319" v="1297" actId="478"/>
          <ac:picMkLst>
            <pc:docMk/>
            <pc:sldMk cId="3690015844" sldId="2146846202"/>
            <ac:picMk id="8198" creationId="{AE9438FE-3D8E-471B-8DB5-2E0CC48B23A1}"/>
          </ac:picMkLst>
        </pc:picChg>
        <pc:picChg chg="del">
          <ac:chgData name="Katerine Schifino" userId="37bb67de-9fcf-4611-888c-7e5b58184a2a" providerId="ADAL" clId="{C66116D1-FF33-4208-A776-57FC8BAF96E0}" dt="2022-06-01T21:43:41.319" v="1297" actId="478"/>
          <ac:picMkLst>
            <pc:docMk/>
            <pc:sldMk cId="3690015844" sldId="2146846202"/>
            <ac:picMk id="8200" creationId="{4C27BE58-DB1B-48D9-B24E-D0A106B5896B}"/>
          </ac:picMkLst>
        </pc:picChg>
        <pc:picChg chg="add mod">
          <ac:chgData name="Katerine Schifino" userId="37bb67de-9fcf-4611-888c-7e5b58184a2a" providerId="ADAL" clId="{C66116D1-FF33-4208-A776-57FC8BAF96E0}" dt="2022-06-01T21:48:00.848" v="1393" actId="1076"/>
          <ac:picMkLst>
            <pc:docMk/>
            <pc:sldMk cId="3690015844" sldId="2146846202"/>
            <ac:picMk id="9218" creationId="{85AB0EE7-0824-40C6-9D9A-04ABCED7E98F}"/>
          </ac:picMkLst>
        </pc:picChg>
        <pc:picChg chg="add mod">
          <ac:chgData name="Katerine Schifino" userId="37bb67de-9fcf-4611-888c-7e5b58184a2a" providerId="ADAL" clId="{C66116D1-FF33-4208-A776-57FC8BAF96E0}" dt="2022-06-01T21:47:25.925" v="1382" actId="1076"/>
          <ac:picMkLst>
            <pc:docMk/>
            <pc:sldMk cId="3690015844" sldId="2146846202"/>
            <ac:picMk id="9220" creationId="{3E4CDDEB-CEED-4314-A149-F8BE3EFB4979}"/>
          </ac:picMkLst>
        </pc:picChg>
      </pc:sldChg>
      <pc:sldChg chg="addSp delSp modSp add mod">
        <pc:chgData name="Katerine Schifino" userId="37bb67de-9fcf-4611-888c-7e5b58184a2a" providerId="ADAL" clId="{C66116D1-FF33-4208-A776-57FC8BAF96E0}" dt="2022-06-01T22:10:54.775" v="2030" actId="1076"/>
        <pc:sldMkLst>
          <pc:docMk/>
          <pc:sldMk cId="3562794010" sldId="2146846203"/>
        </pc:sldMkLst>
        <pc:spChg chg="del">
          <ac:chgData name="Katerine Schifino" userId="37bb67de-9fcf-4611-888c-7e5b58184a2a" providerId="ADAL" clId="{C66116D1-FF33-4208-A776-57FC8BAF96E0}" dt="2022-06-01T21:53:37.870" v="1428" actId="478"/>
          <ac:spMkLst>
            <pc:docMk/>
            <pc:sldMk cId="3562794010" sldId="2146846203"/>
            <ac:spMk id="5" creationId="{F3F5B77B-C5B7-467A-B39D-86CFB13FDDC7}"/>
          </ac:spMkLst>
        </pc:spChg>
        <pc:spChg chg="del">
          <ac:chgData name="Katerine Schifino" userId="37bb67de-9fcf-4611-888c-7e5b58184a2a" providerId="ADAL" clId="{C66116D1-FF33-4208-A776-57FC8BAF96E0}" dt="2022-06-01T21:53:37.870" v="1428" actId="478"/>
          <ac:spMkLst>
            <pc:docMk/>
            <pc:sldMk cId="3562794010" sldId="2146846203"/>
            <ac:spMk id="7" creationId="{D26D72DD-8DF0-4733-A3C8-76B0DBD004B8}"/>
          </ac:spMkLst>
        </pc:spChg>
        <pc:spChg chg="add mod">
          <ac:chgData name="Katerine Schifino" userId="37bb67de-9fcf-4611-888c-7e5b58184a2a" providerId="ADAL" clId="{C66116D1-FF33-4208-A776-57FC8BAF96E0}" dt="2022-06-01T22:09:26.163" v="2014" actId="20577"/>
          <ac:spMkLst>
            <pc:docMk/>
            <pc:sldMk cId="3562794010" sldId="2146846203"/>
            <ac:spMk id="11" creationId="{41A23544-9FA8-46C1-A95B-36EDA981A4E4}"/>
          </ac:spMkLst>
        </pc:spChg>
        <pc:spChg chg="add mod">
          <ac:chgData name="Katerine Schifino" userId="37bb67de-9fcf-4611-888c-7e5b58184a2a" providerId="ADAL" clId="{C66116D1-FF33-4208-A776-57FC8BAF96E0}" dt="2022-06-01T22:09:39.770" v="2015" actId="1076"/>
          <ac:spMkLst>
            <pc:docMk/>
            <pc:sldMk cId="3562794010" sldId="2146846203"/>
            <ac:spMk id="12" creationId="{51D094F1-649F-4230-8502-5B69C0E6075F}"/>
          </ac:spMkLst>
        </pc:spChg>
        <pc:spChg chg="add mod">
          <ac:chgData name="Katerine Schifino" userId="37bb67de-9fcf-4611-888c-7e5b58184a2a" providerId="ADAL" clId="{C66116D1-FF33-4208-A776-57FC8BAF96E0}" dt="2022-06-01T22:09:45.536" v="2017" actId="1076"/>
          <ac:spMkLst>
            <pc:docMk/>
            <pc:sldMk cId="3562794010" sldId="2146846203"/>
            <ac:spMk id="14" creationId="{CDEFBBD5-78DA-4295-A01A-795CFF1AE7A1}"/>
          </ac:spMkLst>
        </pc:spChg>
        <pc:spChg chg="add mod">
          <ac:chgData name="Katerine Schifino" userId="37bb67de-9fcf-4611-888c-7e5b58184a2a" providerId="ADAL" clId="{C66116D1-FF33-4208-A776-57FC8BAF96E0}" dt="2022-06-01T22:09:49.777" v="2019" actId="1076"/>
          <ac:spMkLst>
            <pc:docMk/>
            <pc:sldMk cId="3562794010" sldId="2146846203"/>
            <ac:spMk id="16" creationId="{666C3C8E-749D-4A36-AEAE-692812982359}"/>
          </ac:spMkLst>
        </pc:spChg>
        <pc:spChg chg="mod">
          <ac:chgData name="Katerine Schifino" userId="37bb67de-9fcf-4611-888c-7e5b58184a2a" providerId="ADAL" clId="{C66116D1-FF33-4208-A776-57FC8BAF96E0}" dt="2022-06-01T21:57:55.203" v="1562" actId="20577"/>
          <ac:spMkLst>
            <pc:docMk/>
            <pc:sldMk cId="3562794010" sldId="2146846203"/>
            <ac:spMk id="23" creationId="{597FF9D1-F615-46B8-82C4-43A456BE5991}"/>
          </ac:spMkLst>
        </pc:spChg>
        <pc:spChg chg="mod">
          <ac:chgData name="Katerine Schifino" userId="37bb67de-9fcf-4611-888c-7e5b58184a2a" providerId="ADAL" clId="{C66116D1-FF33-4208-A776-57FC8BAF96E0}" dt="2022-06-01T21:53:58.031" v="1456" actId="6549"/>
          <ac:spMkLst>
            <pc:docMk/>
            <pc:sldMk cId="3562794010" sldId="2146846203"/>
            <ac:spMk id="24" creationId="{C9CA2B5E-DC52-4C6B-9115-2A865EC2DE62}"/>
          </ac:spMkLst>
        </pc:spChg>
        <pc:spChg chg="del">
          <ac:chgData name="Katerine Schifino" userId="37bb67de-9fcf-4611-888c-7e5b58184a2a" providerId="ADAL" clId="{C66116D1-FF33-4208-A776-57FC8BAF96E0}" dt="2022-06-01T21:53:37.870" v="1428" actId="478"/>
          <ac:spMkLst>
            <pc:docMk/>
            <pc:sldMk cId="3562794010" sldId="2146846203"/>
            <ac:spMk id="25" creationId="{4569AF6A-ED16-4E74-80E6-C0570928E4D6}"/>
          </ac:spMkLst>
        </pc:spChg>
        <pc:picChg chg="del">
          <ac:chgData name="Katerine Schifino" userId="37bb67de-9fcf-4611-888c-7e5b58184a2a" providerId="ADAL" clId="{C66116D1-FF33-4208-A776-57FC8BAF96E0}" dt="2022-06-01T21:53:37.870" v="1428" actId="478"/>
          <ac:picMkLst>
            <pc:docMk/>
            <pc:sldMk cId="3562794010" sldId="2146846203"/>
            <ac:picMk id="9218" creationId="{85AB0EE7-0824-40C6-9D9A-04ABCED7E98F}"/>
          </ac:picMkLst>
        </pc:picChg>
        <pc:picChg chg="del">
          <ac:chgData name="Katerine Schifino" userId="37bb67de-9fcf-4611-888c-7e5b58184a2a" providerId="ADAL" clId="{C66116D1-FF33-4208-A776-57FC8BAF96E0}" dt="2022-06-01T21:53:37.870" v="1428" actId="478"/>
          <ac:picMkLst>
            <pc:docMk/>
            <pc:sldMk cId="3562794010" sldId="2146846203"/>
            <ac:picMk id="9220" creationId="{3E4CDDEB-CEED-4314-A149-F8BE3EFB4979}"/>
          </ac:picMkLst>
        </pc:picChg>
        <pc:picChg chg="add mod">
          <ac:chgData name="Katerine Schifino" userId="37bb67de-9fcf-4611-888c-7e5b58184a2a" providerId="ADAL" clId="{C66116D1-FF33-4208-A776-57FC8BAF96E0}" dt="2022-06-01T22:09:53.527" v="2020" actId="1076"/>
          <ac:picMkLst>
            <pc:docMk/>
            <pc:sldMk cId="3562794010" sldId="2146846203"/>
            <ac:picMk id="11266" creationId="{AEA83DA9-B968-487E-8C22-E75697A6C18D}"/>
          </ac:picMkLst>
        </pc:picChg>
        <pc:picChg chg="add mod">
          <ac:chgData name="Katerine Schifino" userId="37bb67de-9fcf-4611-888c-7e5b58184a2a" providerId="ADAL" clId="{C66116D1-FF33-4208-A776-57FC8BAF96E0}" dt="2022-06-01T22:09:43.106" v="2016" actId="1076"/>
          <ac:picMkLst>
            <pc:docMk/>
            <pc:sldMk cId="3562794010" sldId="2146846203"/>
            <ac:picMk id="11268" creationId="{9B3C7CBF-B708-4046-8779-B48E6412D94A}"/>
          </ac:picMkLst>
        </pc:picChg>
        <pc:picChg chg="add del mod">
          <ac:chgData name="Katerine Schifino" userId="37bb67de-9fcf-4611-888c-7e5b58184a2a" providerId="ADAL" clId="{C66116D1-FF33-4208-A776-57FC8BAF96E0}" dt="2022-06-01T22:10:28.897" v="2025" actId="478"/>
          <ac:picMkLst>
            <pc:docMk/>
            <pc:sldMk cId="3562794010" sldId="2146846203"/>
            <ac:picMk id="11270" creationId="{82E494F6-22E6-4851-B596-94FCA080F03D}"/>
          </ac:picMkLst>
        </pc:picChg>
        <pc:picChg chg="add mod">
          <ac:chgData name="Katerine Schifino" userId="37bb67de-9fcf-4611-888c-7e5b58184a2a" providerId="ADAL" clId="{C66116D1-FF33-4208-A776-57FC8BAF96E0}" dt="2022-06-01T22:10:54.775" v="2030" actId="1076"/>
          <ac:picMkLst>
            <pc:docMk/>
            <pc:sldMk cId="3562794010" sldId="2146846203"/>
            <ac:picMk id="11272" creationId="{6B1F7787-A361-45A0-B256-F602BE0B58F8}"/>
          </ac:picMkLst>
        </pc:picChg>
      </pc:sldChg>
    </pc:docChg>
  </pc:docChgLst>
  <pc:docChgLst>
    <pc:chgData name="Katerine Schifino" userId="37bb67de-9fcf-4611-888c-7e5b58184a2a" providerId="ADAL" clId="{DDC0AF11-2D61-425D-BC3E-9D410190C756}"/>
    <pc:docChg chg="undo custSel addSld delSld modSld">
      <pc:chgData name="Katerine Schifino" userId="37bb67de-9fcf-4611-888c-7e5b58184a2a" providerId="ADAL" clId="{DDC0AF11-2D61-425D-BC3E-9D410190C756}" dt="2022-06-03T01:36:40.612" v="4044" actId="113"/>
      <pc:docMkLst>
        <pc:docMk/>
      </pc:docMkLst>
      <pc:sldChg chg="del">
        <pc:chgData name="Katerine Schifino" userId="37bb67de-9fcf-4611-888c-7e5b58184a2a" providerId="ADAL" clId="{DDC0AF11-2D61-425D-BC3E-9D410190C756}" dt="2022-06-02T19:29:50.938" v="4" actId="47"/>
        <pc:sldMkLst>
          <pc:docMk/>
          <pc:sldMk cId="463043937" sldId="2080107999"/>
        </pc:sldMkLst>
      </pc:sldChg>
      <pc:sldChg chg="del">
        <pc:chgData name="Katerine Schifino" userId="37bb67de-9fcf-4611-888c-7e5b58184a2a" providerId="ADAL" clId="{DDC0AF11-2D61-425D-BC3E-9D410190C756}" dt="2022-06-02T19:30:01.864" v="17" actId="47"/>
        <pc:sldMkLst>
          <pc:docMk/>
          <pc:sldMk cId="3592422974" sldId="2080108014"/>
        </pc:sldMkLst>
      </pc:sldChg>
      <pc:sldChg chg="del">
        <pc:chgData name="Katerine Schifino" userId="37bb67de-9fcf-4611-888c-7e5b58184a2a" providerId="ADAL" clId="{DDC0AF11-2D61-425D-BC3E-9D410190C756}" dt="2022-06-02T19:29:51.599" v="5" actId="47"/>
        <pc:sldMkLst>
          <pc:docMk/>
          <pc:sldMk cId="3114610397" sldId="2080108169"/>
        </pc:sldMkLst>
      </pc:sldChg>
      <pc:sldChg chg="del">
        <pc:chgData name="Katerine Schifino" userId="37bb67de-9fcf-4611-888c-7e5b58184a2a" providerId="ADAL" clId="{DDC0AF11-2D61-425D-BC3E-9D410190C756}" dt="2022-06-02T19:30:00.680" v="16" actId="47"/>
        <pc:sldMkLst>
          <pc:docMk/>
          <pc:sldMk cId="3576568090" sldId="2146846137"/>
        </pc:sldMkLst>
      </pc:sldChg>
      <pc:sldChg chg="modSp add mod modClrScheme chgLayout">
        <pc:chgData name="Katerine Schifino" userId="37bb67de-9fcf-4611-888c-7e5b58184a2a" providerId="ADAL" clId="{DDC0AF11-2D61-425D-BC3E-9D410190C756}" dt="2022-06-02T19:34:50.983" v="425" actId="20577"/>
        <pc:sldMkLst>
          <pc:docMk/>
          <pc:sldMk cId="429413671" sldId="2146846138"/>
        </pc:sldMkLst>
        <pc:spChg chg="mod">
          <ac:chgData name="Katerine Schifino" userId="37bb67de-9fcf-4611-888c-7e5b58184a2a" providerId="ADAL" clId="{DDC0AF11-2D61-425D-BC3E-9D410190C756}" dt="2022-06-02T19:32:30.736" v="90" actId="6549"/>
          <ac:spMkLst>
            <pc:docMk/>
            <pc:sldMk cId="429413671" sldId="2146846138"/>
            <ac:spMk id="6" creationId="{C3E24BFF-A0DB-4ECE-96D3-5EAB937B7323}"/>
          </ac:spMkLst>
        </pc:spChg>
        <pc:spChg chg="mod">
          <ac:chgData name="Katerine Schifino" userId="37bb67de-9fcf-4611-888c-7e5b58184a2a" providerId="ADAL" clId="{DDC0AF11-2D61-425D-BC3E-9D410190C756}" dt="2022-06-02T19:34:50.983" v="425" actId="20577"/>
          <ac:spMkLst>
            <pc:docMk/>
            <pc:sldMk cId="429413671" sldId="2146846138"/>
            <ac:spMk id="8" creationId="{F3692B0D-82AC-41A6-A5BD-1A4B9AC9B985}"/>
          </ac:spMkLst>
        </pc:spChg>
      </pc:sldChg>
      <pc:sldChg chg="del">
        <pc:chgData name="Katerine Schifino" userId="37bb67de-9fcf-4611-888c-7e5b58184a2a" providerId="ADAL" clId="{DDC0AF11-2D61-425D-BC3E-9D410190C756}" dt="2022-06-02T19:30:02.284" v="18" actId="47"/>
        <pc:sldMkLst>
          <pc:docMk/>
          <pc:sldMk cId="1553596990" sldId="2146846138"/>
        </pc:sldMkLst>
      </pc:sldChg>
      <pc:sldChg chg="del">
        <pc:chgData name="Katerine Schifino" userId="37bb67de-9fcf-4611-888c-7e5b58184a2a" providerId="ADAL" clId="{DDC0AF11-2D61-425D-BC3E-9D410190C756}" dt="2022-06-02T19:29:38.195" v="1" actId="47"/>
        <pc:sldMkLst>
          <pc:docMk/>
          <pc:sldMk cId="3534808474" sldId="2146846139"/>
        </pc:sldMkLst>
      </pc:sldChg>
      <pc:sldChg chg="del">
        <pc:chgData name="Katerine Schifino" userId="37bb67de-9fcf-4611-888c-7e5b58184a2a" providerId="ADAL" clId="{DDC0AF11-2D61-425D-BC3E-9D410190C756}" dt="2022-06-02T19:29:52.092" v="6" actId="47"/>
        <pc:sldMkLst>
          <pc:docMk/>
          <pc:sldMk cId="2329445064" sldId="2146846140"/>
        </pc:sldMkLst>
      </pc:sldChg>
      <pc:sldChg chg="del">
        <pc:chgData name="Katerine Schifino" userId="37bb67de-9fcf-4611-888c-7e5b58184a2a" providerId="ADAL" clId="{DDC0AF11-2D61-425D-BC3E-9D410190C756}" dt="2022-06-02T19:29:53.747" v="11" actId="47"/>
        <pc:sldMkLst>
          <pc:docMk/>
          <pc:sldMk cId="3768805502" sldId="2146846143"/>
        </pc:sldMkLst>
      </pc:sldChg>
      <pc:sldChg chg="del">
        <pc:chgData name="Katerine Schifino" userId="37bb67de-9fcf-4611-888c-7e5b58184a2a" providerId="ADAL" clId="{DDC0AF11-2D61-425D-BC3E-9D410190C756}" dt="2022-06-02T19:29:53.925" v="12" actId="47"/>
        <pc:sldMkLst>
          <pc:docMk/>
          <pc:sldMk cId="3440500009" sldId="2146846144"/>
        </pc:sldMkLst>
      </pc:sldChg>
      <pc:sldChg chg="del">
        <pc:chgData name="Katerine Schifino" userId="37bb67de-9fcf-4611-888c-7e5b58184a2a" providerId="ADAL" clId="{DDC0AF11-2D61-425D-BC3E-9D410190C756}" dt="2022-06-02T19:29:54.058" v="13" actId="47"/>
        <pc:sldMkLst>
          <pc:docMk/>
          <pc:sldMk cId="1852137981" sldId="2146846145"/>
        </pc:sldMkLst>
      </pc:sldChg>
      <pc:sldChg chg="add del">
        <pc:chgData name="Katerine Schifino" userId="37bb67de-9fcf-4611-888c-7e5b58184a2a" providerId="ADAL" clId="{DDC0AF11-2D61-425D-BC3E-9D410190C756}" dt="2022-06-02T19:29:55.788" v="15" actId="47"/>
        <pc:sldMkLst>
          <pc:docMk/>
          <pc:sldMk cId="663539748" sldId="2146846147"/>
        </pc:sldMkLst>
      </pc:sldChg>
      <pc:sldChg chg="del">
        <pc:chgData name="Katerine Schifino" userId="37bb67de-9fcf-4611-888c-7e5b58184a2a" providerId="ADAL" clId="{DDC0AF11-2D61-425D-BC3E-9D410190C756}" dt="2022-06-02T19:29:53.275" v="9" actId="47"/>
        <pc:sldMkLst>
          <pc:docMk/>
          <pc:sldMk cId="940552876" sldId="2146846148"/>
        </pc:sldMkLst>
      </pc:sldChg>
      <pc:sldChg chg="del">
        <pc:chgData name="Katerine Schifino" userId="37bb67de-9fcf-4611-888c-7e5b58184a2a" providerId="ADAL" clId="{DDC0AF11-2D61-425D-BC3E-9D410190C756}" dt="2022-06-02T19:29:53.596" v="10" actId="47"/>
        <pc:sldMkLst>
          <pc:docMk/>
          <pc:sldMk cId="3098130296" sldId="2146846150"/>
        </pc:sldMkLst>
      </pc:sldChg>
      <pc:sldChg chg="del">
        <pc:chgData name="Katerine Schifino" userId="37bb67de-9fcf-4611-888c-7e5b58184a2a" providerId="ADAL" clId="{DDC0AF11-2D61-425D-BC3E-9D410190C756}" dt="2022-06-02T19:29:52.955" v="8" actId="47"/>
        <pc:sldMkLst>
          <pc:docMk/>
          <pc:sldMk cId="240383878" sldId="2146846151"/>
        </pc:sldMkLst>
      </pc:sldChg>
      <pc:sldChg chg="del">
        <pc:chgData name="Katerine Schifino" userId="37bb67de-9fcf-4611-888c-7e5b58184a2a" providerId="ADAL" clId="{DDC0AF11-2D61-425D-BC3E-9D410190C756}" dt="2022-06-02T19:29:52.491" v="7" actId="47"/>
        <pc:sldMkLst>
          <pc:docMk/>
          <pc:sldMk cId="3872794362" sldId="2146846188"/>
        </pc:sldMkLst>
      </pc:sldChg>
      <pc:sldChg chg="addSp delSp modSp mod">
        <pc:chgData name="Katerine Schifino" userId="37bb67de-9fcf-4611-888c-7e5b58184a2a" providerId="ADAL" clId="{DDC0AF11-2D61-425D-BC3E-9D410190C756}" dt="2022-06-02T19:49:11.780" v="1635" actId="20577"/>
        <pc:sldMkLst>
          <pc:docMk/>
          <pc:sldMk cId="1081149190" sldId="2146846189"/>
        </pc:sldMkLst>
        <pc:spChg chg="add mod">
          <ac:chgData name="Katerine Schifino" userId="37bb67de-9fcf-4611-888c-7e5b58184a2a" providerId="ADAL" clId="{DDC0AF11-2D61-425D-BC3E-9D410190C756}" dt="2022-06-02T19:49:02.384" v="1632" actId="1076"/>
          <ac:spMkLst>
            <pc:docMk/>
            <pc:sldMk cId="1081149190" sldId="2146846189"/>
            <ac:spMk id="2" creationId="{6B0D95B7-DB89-43BA-843E-1988F78AF3D9}"/>
          </ac:spMkLst>
        </pc:spChg>
        <pc:spChg chg="mod">
          <ac:chgData name="Katerine Schifino" userId="37bb67de-9fcf-4611-888c-7e5b58184a2a" providerId="ADAL" clId="{DDC0AF11-2D61-425D-BC3E-9D410190C756}" dt="2022-06-02T19:41:23.226" v="1046" actId="1076"/>
          <ac:spMkLst>
            <pc:docMk/>
            <pc:sldMk cId="1081149190" sldId="2146846189"/>
            <ac:spMk id="9" creationId="{A89F78CA-912F-482C-BF87-C19EF93A26BC}"/>
          </ac:spMkLst>
        </pc:spChg>
        <pc:spChg chg="mod">
          <ac:chgData name="Katerine Schifino" userId="37bb67de-9fcf-4611-888c-7e5b58184a2a" providerId="ADAL" clId="{DDC0AF11-2D61-425D-BC3E-9D410190C756}" dt="2022-06-02T19:41:23.226" v="1046" actId="1076"/>
          <ac:spMkLst>
            <pc:docMk/>
            <pc:sldMk cId="1081149190" sldId="2146846189"/>
            <ac:spMk id="13" creationId="{74B3DBF6-7C47-46BB-923B-DE7F2196C60D}"/>
          </ac:spMkLst>
        </pc:spChg>
        <pc:spChg chg="add del mod">
          <ac:chgData name="Katerine Schifino" userId="37bb67de-9fcf-4611-888c-7e5b58184a2a" providerId="ADAL" clId="{DDC0AF11-2D61-425D-BC3E-9D410190C756}" dt="2022-06-02T19:45:15.071" v="1306" actId="478"/>
          <ac:spMkLst>
            <pc:docMk/>
            <pc:sldMk cId="1081149190" sldId="2146846189"/>
            <ac:spMk id="14" creationId="{2523780D-6789-4D14-AE60-8DEE96D234DA}"/>
          </ac:spMkLst>
        </pc:spChg>
        <pc:spChg chg="add mod">
          <ac:chgData name="Katerine Schifino" userId="37bb67de-9fcf-4611-888c-7e5b58184a2a" providerId="ADAL" clId="{DDC0AF11-2D61-425D-BC3E-9D410190C756}" dt="2022-06-02T19:49:11.780" v="1635" actId="20577"/>
          <ac:spMkLst>
            <pc:docMk/>
            <pc:sldMk cId="1081149190" sldId="2146846189"/>
            <ac:spMk id="15" creationId="{4391AE27-F5DA-4877-ACD8-9BA48209AF42}"/>
          </ac:spMkLst>
        </pc:spChg>
        <pc:spChg chg="mod">
          <ac:chgData name="Katerine Schifino" userId="37bb67de-9fcf-4611-888c-7e5b58184a2a" providerId="ADAL" clId="{DDC0AF11-2D61-425D-BC3E-9D410190C756}" dt="2022-06-02T19:41:23.226" v="1046" actId="1076"/>
          <ac:spMkLst>
            <pc:docMk/>
            <pc:sldMk cId="1081149190" sldId="2146846189"/>
            <ac:spMk id="16" creationId="{91ED6617-3ABA-4373-BEBF-8246874EC35C}"/>
          </ac:spMkLst>
        </pc:spChg>
        <pc:spChg chg="mod">
          <ac:chgData name="Katerine Schifino" userId="37bb67de-9fcf-4611-888c-7e5b58184a2a" providerId="ADAL" clId="{DDC0AF11-2D61-425D-BC3E-9D410190C756}" dt="2022-06-02T19:41:23.226" v="1046" actId="1076"/>
          <ac:spMkLst>
            <pc:docMk/>
            <pc:sldMk cId="1081149190" sldId="2146846189"/>
            <ac:spMk id="17" creationId="{C5F95D62-9EB9-4C01-AA92-4F34FF534393}"/>
          </ac:spMkLst>
        </pc:spChg>
        <pc:spChg chg="add del mod">
          <ac:chgData name="Katerine Schifino" userId="37bb67de-9fcf-4611-888c-7e5b58184a2a" providerId="ADAL" clId="{DDC0AF11-2D61-425D-BC3E-9D410190C756}" dt="2022-06-02T19:42:27.200" v="1067" actId="1076"/>
          <ac:spMkLst>
            <pc:docMk/>
            <pc:sldMk cId="1081149190" sldId="2146846189"/>
            <ac:spMk id="18" creationId="{99AAD9F0-114B-45A3-9537-8D6C6CD9F0E6}"/>
          </ac:spMkLst>
        </pc:spChg>
        <pc:spChg chg="add del mod">
          <ac:chgData name="Katerine Schifino" userId="37bb67de-9fcf-4611-888c-7e5b58184a2a" providerId="ADAL" clId="{DDC0AF11-2D61-425D-BC3E-9D410190C756}" dt="2022-06-02T19:42:21.201" v="1065" actId="1076"/>
          <ac:spMkLst>
            <pc:docMk/>
            <pc:sldMk cId="1081149190" sldId="2146846189"/>
            <ac:spMk id="19" creationId="{A29FCCBD-FF7B-4D38-BF7D-AE32D21EE252}"/>
          </ac:spMkLst>
        </pc:spChg>
        <pc:picChg chg="add mod">
          <ac:chgData name="Katerine Schifino" userId="37bb67de-9fcf-4611-888c-7e5b58184a2a" providerId="ADAL" clId="{DDC0AF11-2D61-425D-BC3E-9D410190C756}" dt="2022-06-02T19:49:08.047" v="1634" actId="1076"/>
          <ac:picMkLst>
            <pc:docMk/>
            <pc:sldMk cId="1081149190" sldId="2146846189"/>
            <ac:picMk id="4" creationId="{68DB47A6-0745-42FF-827F-0C8E345F3447}"/>
          </ac:picMkLst>
        </pc:picChg>
        <pc:picChg chg="mod">
          <ac:chgData name="Katerine Schifino" userId="37bb67de-9fcf-4611-888c-7e5b58184a2a" providerId="ADAL" clId="{DDC0AF11-2D61-425D-BC3E-9D410190C756}" dt="2022-06-02T19:41:23.226" v="1046" actId="1076"/>
          <ac:picMkLst>
            <pc:docMk/>
            <pc:sldMk cId="1081149190" sldId="2146846189"/>
            <ac:picMk id="7172" creationId="{06A482B7-E6CD-41B3-B2D4-F3755A7DBD26}"/>
          </ac:picMkLst>
        </pc:picChg>
        <pc:picChg chg="add del mod">
          <ac:chgData name="Katerine Schifino" userId="37bb67de-9fcf-4611-888c-7e5b58184a2a" providerId="ADAL" clId="{DDC0AF11-2D61-425D-BC3E-9D410190C756}" dt="2022-06-02T19:42:24.173" v="1066" actId="1076"/>
          <ac:picMkLst>
            <pc:docMk/>
            <pc:sldMk cId="1081149190" sldId="2146846189"/>
            <ac:picMk id="7174" creationId="{0AB49698-9015-49D0-955D-A25DBF1773F6}"/>
          </ac:picMkLst>
        </pc:picChg>
      </pc:sldChg>
      <pc:sldChg chg="addSp delSp modSp mod">
        <pc:chgData name="Katerine Schifino" userId="37bb67de-9fcf-4611-888c-7e5b58184a2a" providerId="ADAL" clId="{DDC0AF11-2D61-425D-BC3E-9D410190C756}" dt="2022-06-02T19:53:04.712" v="1861" actId="20577"/>
        <pc:sldMkLst>
          <pc:docMk/>
          <pc:sldMk cId="3146685949" sldId="2146846191"/>
        </pc:sldMkLst>
        <pc:spChg chg="add mod">
          <ac:chgData name="Katerine Schifino" userId="37bb67de-9fcf-4611-888c-7e5b58184a2a" providerId="ADAL" clId="{DDC0AF11-2D61-425D-BC3E-9D410190C756}" dt="2022-06-02T19:53:04.712" v="1861" actId="20577"/>
          <ac:spMkLst>
            <pc:docMk/>
            <pc:sldMk cId="3146685949" sldId="2146846191"/>
            <ac:spMk id="7" creationId="{85A4E73E-1135-4030-8A97-473FD45AF184}"/>
          </ac:spMkLst>
        </pc:spChg>
        <pc:spChg chg="del">
          <ac:chgData name="Katerine Schifino" userId="37bb67de-9fcf-4611-888c-7e5b58184a2a" providerId="ADAL" clId="{DDC0AF11-2D61-425D-BC3E-9D410190C756}" dt="2022-06-02T19:51:20.057" v="1639" actId="478"/>
          <ac:spMkLst>
            <pc:docMk/>
            <pc:sldMk cId="3146685949" sldId="2146846191"/>
            <ac:spMk id="39" creationId="{FBC5878A-8F0E-4D0D-81F1-E3C9A3E133CA}"/>
          </ac:spMkLst>
        </pc:spChg>
        <pc:picChg chg="del">
          <ac:chgData name="Katerine Schifino" userId="37bb67de-9fcf-4611-888c-7e5b58184a2a" providerId="ADAL" clId="{DDC0AF11-2D61-425D-BC3E-9D410190C756}" dt="2022-06-02T19:51:20.057" v="1639" actId="478"/>
          <ac:picMkLst>
            <pc:docMk/>
            <pc:sldMk cId="3146685949" sldId="2146846191"/>
            <ac:picMk id="25" creationId="{669ACA6D-D4AF-4EAD-BA9E-2B1AF82A8BE7}"/>
          </ac:picMkLst>
        </pc:picChg>
      </pc:sldChg>
      <pc:sldChg chg="addSp modSp mod">
        <pc:chgData name="Katerine Schifino" userId="37bb67de-9fcf-4611-888c-7e5b58184a2a" providerId="ADAL" clId="{DDC0AF11-2D61-425D-BC3E-9D410190C756}" dt="2022-06-02T19:57:29.004" v="2389" actId="14100"/>
        <pc:sldMkLst>
          <pc:docMk/>
          <pc:sldMk cId="2968486713" sldId="2146846192"/>
        </pc:sldMkLst>
        <pc:spChg chg="add mod">
          <ac:chgData name="Katerine Schifino" userId="37bb67de-9fcf-4611-888c-7e5b58184a2a" providerId="ADAL" clId="{DDC0AF11-2D61-425D-BC3E-9D410190C756}" dt="2022-06-02T19:57:00.481" v="2387" actId="20577"/>
          <ac:spMkLst>
            <pc:docMk/>
            <pc:sldMk cId="2968486713" sldId="2146846192"/>
            <ac:spMk id="11" creationId="{64CF57A6-DD70-460A-BD2E-5913258F58FA}"/>
          </ac:spMkLst>
        </pc:spChg>
        <pc:spChg chg="mod">
          <ac:chgData name="Katerine Schifino" userId="37bb67de-9fcf-4611-888c-7e5b58184a2a" providerId="ADAL" clId="{DDC0AF11-2D61-425D-BC3E-9D410190C756}" dt="2022-06-02T19:57:29.004" v="2389" actId="14100"/>
          <ac:spMkLst>
            <pc:docMk/>
            <pc:sldMk cId="2968486713" sldId="2146846192"/>
            <ac:spMk id="19" creationId="{96CAE5D9-122E-4FA6-A910-641FFE48A404}"/>
          </ac:spMkLst>
        </pc:spChg>
      </pc:sldChg>
      <pc:sldChg chg="addSp delSp modSp mod">
        <pc:chgData name="Katerine Schifino" userId="37bb67de-9fcf-4611-888c-7e5b58184a2a" providerId="ADAL" clId="{DDC0AF11-2D61-425D-BC3E-9D410190C756}" dt="2022-06-02T20:00:38.717" v="2776" actId="1076"/>
        <pc:sldMkLst>
          <pc:docMk/>
          <pc:sldMk cId="1662542093" sldId="2146846193"/>
        </pc:sldMkLst>
        <pc:spChg chg="add mod">
          <ac:chgData name="Katerine Schifino" userId="37bb67de-9fcf-4611-888c-7e5b58184a2a" providerId="ADAL" clId="{DDC0AF11-2D61-425D-BC3E-9D410190C756}" dt="2022-06-02T20:00:38.717" v="2776" actId="1076"/>
          <ac:spMkLst>
            <pc:docMk/>
            <pc:sldMk cId="1662542093" sldId="2146846193"/>
            <ac:spMk id="8" creationId="{11EF6F39-6065-403B-B3D8-2732572454CE}"/>
          </ac:spMkLst>
        </pc:spChg>
        <pc:graphicFrameChg chg="mod modGraphic">
          <ac:chgData name="Katerine Schifino" userId="37bb67de-9fcf-4611-888c-7e5b58184a2a" providerId="ADAL" clId="{DDC0AF11-2D61-425D-BC3E-9D410190C756}" dt="2022-06-02T19:58:41.178" v="2392" actId="14734"/>
          <ac:graphicFrameMkLst>
            <pc:docMk/>
            <pc:sldMk cId="1662542093" sldId="2146846193"/>
            <ac:graphicFrameMk id="3" creationId="{1FAC86E6-7510-4026-A4EF-EEA428280EC2}"/>
          </ac:graphicFrameMkLst>
        </pc:graphicFrameChg>
        <pc:picChg chg="del">
          <ac:chgData name="Katerine Schifino" userId="37bb67de-9fcf-4611-888c-7e5b58184a2a" providerId="ADAL" clId="{DDC0AF11-2D61-425D-BC3E-9D410190C756}" dt="2022-06-02T20:00:11.731" v="2746" actId="478"/>
          <ac:picMkLst>
            <pc:docMk/>
            <pc:sldMk cId="1662542093" sldId="2146846193"/>
            <ac:picMk id="21" creationId="{BDC809D2-4742-43D5-9208-60B7A46CDA84}"/>
          </ac:picMkLst>
        </pc:picChg>
      </pc:sldChg>
      <pc:sldChg chg="addSp modSp mod">
        <pc:chgData name="Katerine Schifino" userId="37bb67de-9fcf-4611-888c-7e5b58184a2a" providerId="ADAL" clId="{DDC0AF11-2D61-425D-BC3E-9D410190C756}" dt="2022-06-03T01:28:43.866" v="3091" actId="115"/>
        <pc:sldMkLst>
          <pc:docMk/>
          <pc:sldMk cId="1701351180" sldId="2146846200"/>
        </pc:sldMkLst>
        <pc:spChg chg="mod">
          <ac:chgData name="Katerine Schifino" userId="37bb67de-9fcf-4611-888c-7e5b58184a2a" providerId="ADAL" clId="{DDC0AF11-2D61-425D-BC3E-9D410190C756}" dt="2022-06-03T01:28:43.866" v="3091" actId="115"/>
          <ac:spMkLst>
            <pc:docMk/>
            <pc:sldMk cId="1701351180" sldId="2146846200"/>
            <ac:spMk id="7" creationId="{D26D72DD-8DF0-4733-A3C8-76B0DBD004B8}"/>
          </ac:spMkLst>
        </pc:spChg>
        <pc:spChg chg="mod">
          <ac:chgData name="Katerine Schifino" userId="37bb67de-9fcf-4611-888c-7e5b58184a2a" providerId="ADAL" clId="{DDC0AF11-2D61-425D-BC3E-9D410190C756}" dt="2022-06-03T01:24:57.695" v="2780" actId="14100"/>
          <ac:spMkLst>
            <pc:docMk/>
            <pc:sldMk cId="1701351180" sldId="2146846200"/>
            <ac:spMk id="23" creationId="{597FF9D1-F615-46B8-82C4-43A456BE5991}"/>
          </ac:spMkLst>
        </pc:spChg>
        <pc:spChg chg="add mod">
          <ac:chgData name="Katerine Schifino" userId="37bb67de-9fcf-4611-888c-7e5b58184a2a" providerId="ADAL" clId="{DDC0AF11-2D61-425D-BC3E-9D410190C756}" dt="2022-06-03T01:28:02.339" v="2977" actId="403"/>
          <ac:spMkLst>
            <pc:docMk/>
            <pc:sldMk cId="1701351180" sldId="2146846200"/>
            <ac:spMk id="25" creationId="{789CE95B-721A-4F1F-8954-186148AB7631}"/>
          </ac:spMkLst>
        </pc:spChg>
      </pc:sldChg>
      <pc:sldChg chg="addSp modSp mod">
        <pc:chgData name="Katerine Schifino" userId="37bb67de-9fcf-4611-888c-7e5b58184a2a" providerId="ADAL" clId="{DDC0AF11-2D61-425D-BC3E-9D410190C756}" dt="2022-06-03T01:30:25.138" v="3274" actId="20577"/>
        <pc:sldMkLst>
          <pc:docMk/>
          <pc:sldMk cId="3562627161" sldId="2146846201"/>
        </pc:sldMkLst>
        <pc:spChg chg="add mod">
          <ac:chgData name="Katerine Schifino" userId="37bb67de-9fcf-4611-888c-7e5b58184a2a" providerId="ADAL" clId="{DDC0AF11-2D61-425D-BC3E-9D410190C756}" dt="2022-06-03T01:30:25.138" v="3274" actId="20577"/>
          <ac:spMkLst>
            <pc:docMk/>
            <pc:sldMk cId="3562627161" sldId="2146846201"/>
            <ac:spMk id="15" creationId="{5675A197-C855-4AFE-9D4B-6D8F70DFB764}"/>
          </ac:spMkLst>
        </pc:spChg>
        <pc:spChg chg="mod">
          <ac:chgData name="Katerine Schifino" userId="37bb67de-9fcf-4611-888c-7e5b58184a2a" providerId="ADAL" clId="{DDC0AF11-2D61-425D-BC3E-9D410190C756}" dt="2022-06-03T01:29:31.144" v="3168" actId="14100"/>
          <ac:spMkLst>
            <pc:docMk/>
            <pc:sldMk cId="3562627161" sldId="2146846201"/>
            <ac:spMk id="33" creationId="{10C7C999-D5CA-41E2-875A-0022D5E8EF28}"/>
          </ac:spMkLst>
        </pc:spChg>
      </pc:sldChg>
      <pc:sldChg chg="addSp delSp modSp mod">
        <pc:chgData name="Katerine Schifino" userId="37bb67de-9fcf-4611-888c-7e5b58184a2a" providerId="ADAL" clId="{DDC0AF11-2D61-425D-BC3E-9D410190C756}" dt="2022-06-03T01:33:07.720" v="3622" actId="115"/>
        <pc:sldMkLst>
          <pc:docMk/>
          <pc:sldMk cId="3690015844" sldId="2146846202"/>
        </pc:sldMkLst>
        <pc:spChg chg="add mod">
          <ac:chgData name="Katerine Schifino" userId="37bb67de-9fcf-4611-888c-7e5b58184a2a" providerId="ADAL" clId="{DDC0AF11-2D61-425D-BC3E-9D410190C756}" dt="2022-06-03T01:31:51.302" v="3495" actId="14100"/>
          <ac:spMkLst>
            <pc:docMk/>
            <pc:sldMk cId="3690015844" sldId="2146846202"/>
            <ac:spMk id="11" creationId="{C6F62B88-042B-4A40-912D-4D2ACCD20AE2}"/>
          </ac:spMkLst>
        </pc:spChg>
        <pc:spChg chg="add mod">
          <ac:chgData name="Katerine Schifino" userId="37bb67de-9fcf-4611-888c-7e5b58184a2a" providerId="ADAL" clId="{DDC0AF11-2D61-425D-BC3E-9D410190C756}" dt="2022-06-03T01:33:07.720" v="3622" actId="115"/>
          <ac:spMkLst>
            <pc:docMk/>
            <pc:sldMk cId="3690015844" sldId="2146846202"/>
            <ac:spMk id="12" creationId="{CA5460F7-4308-4185-B28E-AC528C103344}"/>
          </ac:spMkLst>
        </pc:spChg>
        <pc:spChg chg="mod">
          <ac:chgData name="Katerine Schifino" userId="37bb67de-9fcf-4611-888c-7e5b58184a2a" providerId="ADAL" clId="{DDC0AF11-2D61-425D-BC3E-9D410190C756}" dt="2022-06-03T01:30:46.104" v="3275" actId="14100"/>
          <ac:spMkLst>
            <pc:docMk/>
            <pc:sldMk cId="3690015844" sldId="2146846202"/>
            <ac:spMk id="23" creationId="{597FF9D1-F615-46B8-82C4-43A456BE5991}"/>
          </ac:spMkLst>
        </pc:spChg>
        <pc:picChg chg="del">
          <ac:chgData name="Katerine Schifino" userId="37bb67de-9fcf-4611-888c-7e5b58184a2a" providerId="ADAL" clId="{DDC0AF11-2D61-425D-BC3E-9D410190C756}" dt="2022-06-03T01:32:00.550" v="3496" actId="478"/>
          <ac:picMkLst>
            <pc:docMk/>
            <pc:sldMk cId="3690015844" sldId="2146846202"/>
            <ac:picMk id="9220" creationId="{3E4CDDEB-CEED-4314-A149-F8BE3EFB4979}"/>
          </ac:picMkLst>
        </pc:picChg>
      </pc:sldChg>
      <pc:sldChg chg="addSp modSp mod">
        <pc:chgData name="Katerine Schifino" userId="37bb67de-9fcf-4611-888c-7e5b58184a2a" providerId="ADAL" clId="{DDC0AF11-2D61-425D-BC3E-9D410190C756}" dt="2022-06-03T01:36:40.612" v="4044" actId="113"/>
        <pc:sldMkLst>
          <pc:docMk/>
          <pc:sldMk cId="3562794010" sldId="2146846203"/>
        </pc:sldMkLst>
        <pc:spChg chg="mod">
          <ac:chgData name="Katerine Schifino" userId="37bb67de-9fcf-4611-888c-7e5b58184a2a" providerId="ADAL" clId="{DDC0AF11-2D61-425D-BC3E-9D410190C756}" dt="2022-06-03T01:33:27.378" v="3624" actId="1076"/>
          <ac:spMkLst>
            <pc:docMk/>
            <pc:sldMk cId="3562794010" sldId="2146846203"/>
            <ac:spMk id="11" creationId="{41A23544-9FA8-46C1-A95B-36EDA981A4E4}"/>
          </ac:spMkLst>
        </pc:spChg>
        <pc:spChg chg="add mod">
          <ac:chgData name="Katerine Schifino" userId="37bb67de-9fcf-4611-888c-7e5b58184a2a" providerId="ADAL" clId="{DDC0AF11-2D61-425D-BC3E-9D410190C756}" dt="2022-06-03T01:35:34.156" v="3841" actId="20577"/>
          <ac:spMkLst>
            <pc:docMk/>
            <pc:sldMk cId="3562794010" sldId="2146846203"/>
            <ac:spMk id="13" creationId="{1DE8C1E9-3162-49D3-9A03-CCCEDDB52471}"/>
          </ac:spMkLst>
        </pc:spChg>
        <pc:spChg chg="add mod">
          <ac:chgData name="Katerine Schifino" userId="37bb67de-9fcf-4611-888c-7e5b58184a2a" providerId="ADAL" clId="{DDC0AF11-2D61-425D-BC3E-9D410190C756}" dt="2022-06-03T01:36:40.612" v="4044" actId="113"/>
          <ac:spMkLst>
            <pc:docMk/>
            <pc:sldMk cId="3562794010" sldId="2146846203"/>
            <ac:spMk id="15" creationId="{B6F07C70-591F-4054-B8C5-B6F38240DDD8}"/>
          </ac:spMkLst>
        </pc:spChg>
        <pc:spChg chg="mod">
          <ac:chgData name="Katerine Schifino" userId="37bb67de-9fcf-4611-888c-7e5b58184a2a" providerId="ADAL" clId="{DDC0AF11-2D61-425D-BC3E-9D410190C756}" dt="2022-06-03T01:35:29.327" v="3839" actId="6549"/>
          <ac:spMkLst>
            <pc:docMk/>
            <pc:sldMk cId="3562794010" sldId="2146846203"/>
            <ac:spMk id="16" creationId="{666C3C8E-749D-4A36-AEAE-692812982359}"/>
          </ac:spMkLst>
        </pc:spChg>
      </pc:sldChg>
      <pc:sldChg chg="addSp delSp modSp add mod modClrScheme chgLayout">
        <pc:chgData name="Katerine Schifino" userId="37bb67de-9fcf-4611-888c-7e5b58184a2a" providerId="ADAL" clId="{DDC0AF11-2D61-425D-BC3E-9D410190C756}" dt="2022-06-02T19:37:34.109" v="801" actId="1076"/>
        <pc:sldMkLst>
          <pc:docMk/>
          <pc:sldMk cId="3261464579" sldId="2146846204"/>
        </pc:sldMkLst>
        <pc:spChg chg="add mod">
          <ac:chgData name="Katerine Schifino" userId="37bb67de-9fcf-4611-888c-7e5b58184a2a" providerId="ADAL" clId="{DDC0AF11-2D61-425D-BC3E-9D410190C756}" dt="2022-06-02T19:35:06.418" v="427"/>
          <ac:spMkLst>
            <pc:docMk/>
            <pc:sldMk cId="3261464579" sldId="2146846204"/>
            <ac:spMk id="5" creationId="{4DD7FEEC-0773-44D1-9A60-54252FA5D7DB}"/>
          </ac:spMkLst>
        </pc:spChg>
        <pc:spChg chg="del">
          <ac:chgData name="Katerine Schifino" userId="37bb67de-9fcf-4611-888c-7e5b58184a2a" providerId="ADAL" clId="{DDC0AF11-2D61-425D-BC3E-9D410190C756}" dt="2022-06-02T19:35:06.072" v="426" actId="478"/>
          <ac:spMkLst>
            <pc:docMk/>
            <pc:sldMk cId="3261464579" sldId="2146846204"/>
            <ac:spMk id="6" creationId="{C3E24BFF-A0DB-4ECE-96D3-5EAB937B7323}"/>
          </ac:spMkLst>
        </pc:spChg>
        <pc:spChg chg="mod">
          <ac:chgData name="Katerine Schifino" userId="37bb67de-9fcf-4611-888c-7e5b58184a2a" providerId="ADAL" clId="{DDC0AF11-2D61-425D-BC3E-9D410190C756}" dt="2022-06-02T19:37:34.109" v="801" actId="1076"/>
          <ac:spMkLst>
            <pc:docMk/>
            <pc:sldMk cId="3261464579" sldId="2146846204"/>
            <ac:spMk id="8" creationId="{F3692B0D-82AC-41A6-A5BD-1A4B9AC9B985}"/>
          </ac:spMkLst>
        </pc:spChg>
      </pc:sldChg>
      <pc:sldChg chg="new del">
        <pc:chgData name="Katerine Schifino" userId="37bb67de-9fcf-4611-888c-7e5b58184a2a" providerId="ADAL" clId="{DDC0AF11-2D61-425D-BC3E-9D410190C756}" dt="2022-06-02T19:32:09.958" v="23" actId="680"/>
        <pc:sldMkLst>
          <pc:docMk/>
          <pc:sldMk cId="1192607335" sldId="2146846205"/>
        </pc:sldMkLst>
      </pc:sldChg>
    </pc:docChg>
  </pc:docChgLst>
  <pc:docChgLst>
    <pc:chgData name="Katerine Schifino" userId="37bb67de-9fcf-4611-888c-7e5b58184a2a" providerId="ADAL" clId="{6B0A7616-E05F-413C-B432-12881B7C4D0D}"/>
    <pc:docChg chg="custSel addSld delSld modSld">
      <pc:chgData name="Katerine Schifino" userId="37bb67de-9fcf-4611-888c-7e5b58184a2a" providerId="ADAL" clId="{6B0A7616-E05F-413C-B432-12881B7C4D0D}" dt="2022-06-03T21:30:55.045" v="99" actId="20577"/>
      <pc:docMkLst>
        <pc:docMk/>
      </pc:docMkLst>
      <pc:sldChg chg="del">
        <pc:chgData name="Katerine Schifino" userId="37bb67de-9fcf-4611-888c-7e5b58184a2a" providerId="ADAL" clId="{6B0A7616-E05F-413C-B432-12881B7C4D0D}" dt="2022-06-03T21:26:21.106" v="35" actId="47"/>
        <pc:sldMkLst>
          <pc:docMk/>
          <pc:sldMk cId="663539748" sldId="2146846147"/>
        </pc:sldMkLst>
      </pc:sldChg>
      <pc:sldChg chg="del">
        <pc:chgData name="Katerine Schifino" userId="37bb67de-9fcf-4611-888c-7e5b58184a2a" providerId="ADAL" clId="{6B0A7616-E05F-413C-B432-12881B7C4D0D}" dt="2022-06-03T21:26:56.595" v="46" actId="47"/>
        <pc:sldMkLst>
          <pc:docMk/>
          <pc:sldMk cId="1081149190" sldId="2146846189"/>
        </pc:sldMkLst>
      </pc:sldChg>
      <pc:sldChg chg="del">
        <pc:chgData name="Katerine Schifino" userId="37bb67de-9fcf-4611-888c-7e5b58184a2a" providerId="ADAL" clId="{6B0A7616-E05F-413C-B432-12881B7C4D0D}" dt="2022-06-03T21:27:06.451" v="50" actId="47"/>
        <pc:sldMkLst>
          <pc:docMk/>
          <pc:sldMk cId="3146685949" sldId="2146846191"/>
        </pc:sldMkLst>
      </pc:sldChg>
      <pc:sldChg chg="del">
        <pc:chgData name="Katerine Schifino" userId="37bb67de-9fcf-4611-888c-7e5b58184a2a" providerId="ADAL" clId="{6B0A7616-E05F-413C-B432-12881B7C4D0D}" dt="2022-06-03T21:27:21.611" v="54" actId="47"/>
        <pc:sldMkLst>
          <pc:docMk/>
          <pc:sldMk cId="2968486713" sldId="2146846192"/>
        </pc:sldMkLst>
      </pc:sldChg>
      <pc:sldChg chg="del">
        <pc:chgData name="Katerine Schifino" userId="37bb67de-9fcf-4611-888c-7e5b58184a2a" providerId="ADAL" clId="{6B0A7616-E05F-413C-B432-12881B7C4D0D}" dt="2022-06-03T21:27:45.848" v="62" actId="47"/>
        <pc:sldMkLst>
          <pc:docMk/>
          <pc:sldMk cId="1662542093" sldId="2146846193"/>
        </pc:sldMkLst>
      </pc:sldChg>
      <pc:sldChg chg="del">
        <pc:chgData name="Katerine Schifino" userId="37bb67de-9fcf-4611-888c-7e5b58184a2a" providerId="ADAL" clId="{6B0A7616-E05F-413C-B432-12881B7C4D0D}" dt="2022-06-03T21:16:05.224" v="11" actId="47"/>
        <pc:sldMkLst>
          <pc:docMk/>
          <pc:sldMk cId="183766731" sldId="2146846194"/>
        </pc:sldMkLst>
      </pc:sldChg>
      <pc:sldChg chg="del">
        <pc:chgData name="Katerine Schifino" userId="37bb67de-9fcf-4611-888c-7e5b58184a2a" providerId="ADAL" clId="{6B0A7616-E05F-413C-B432-12881B7C4D0D}" dt="2022-06-03T21:16:08.914" v="12" actId="47"/>
        <pc:sldMkLst>
          <pc:docMk/>
          <pc:sldMk cId="1701351180" sldId="2146846200"/>
        </pc:sldMkLst>
      </pc:sldChg>
      <pc:sldChg chg="del">
        <pc:chgData name="Katerine Schifino" userId="37bb67de-9fcf-4611-888c-7e5b58184a2a" providerId="ADAL" clId="{6B0A7616-E05F-413C-B432-12881B7C4D0D}" dt="2022-06-03T21:16:10.373" v="13" actId="47"/>
        <pc:sldMkLst>
          <pc:docMk/>
          <pc:sldMk cId="3562627161" sldId="2146846201"/>
        </pc:sldMkLst>
      </pc:sldChg>
      <pc:sldChg chg="del">
        <pc:chgData name="Katerine Schifino" userId="37bb67de-9fcf-4611-888c-7e5b58184a2a" providerId="ADAL" clId="{6B0A7616-E05F-413C-B432-12881B7C4D0D}" dt="2022-06-03T21:16:11.213" v="14" actId="47"/>
        <pc:sldMkLst>
          <pc:docMk/>
          <pc:sldMk cId="3690015844" sldId="2146846202"/>
        </pc:sldMkLst>
      </pc:sldChg>
      <pc:sldChg chg="del">
        <pc:chgData name="Katerine Schifino" userId="37bb67de-9fcf-4611-888c-7e5b58184a2a" providerId="ADAL" clId="{6B0A7616-E05F-413C-B432-12881B7C4D0D}" dt="2022-06-03T21:15:54.472" v="10" actId="47"/>
        <pc:sldMkLst>
          <pc:docMk/>
          <pc:sldMk cId="3562794010" sldId="2146846203"/>
        </pc:sldMkLst>
      </pc:sldChg>
      <pc:sldChg chg="modSp mod">
        <pc:chgData name="Katerine Schifino" userId="37bb67de-9fcf-4611-888c-7e5b58184a2a" providerId="ADAL" clId="{6B0A7616-E05F-413C-B432-12881B7C4D0D}" dt="2022-06-03T21:30:55.045" v="99" actId="20577"/>
        <pc:sldMkLst>
          <pc:docMk/>
          <pc:sldMk cId="3261464579" sldId="2146846204"/>
        </pc:sldMkLst>
        <pc:spChg chg="mod">
          <ac:chgData name="Katerine Schifino" userId="37bb67de-9fcf-4611-888c-7e5b58184a2a" providerId="ADAL" clId="{6B0A7616-E05F-413C-B432-12881B7C4D0D}" dt="2022-06-03T21:30:13.254" v="86"/>
          <ac:spMkLst>
            <pc:docMk/>
            <pc:sldMk cId="3261464579" sldId="2146846204"/>
            <ac:spMk id="5" creationId="{4DD7FEEC-0773-44D1-9A60-54252FA5D7DB}"/>
          </ac:spMkLst>
        </pc:spChg>
        <pc:spChg chg="mod">
          <ac:chgData name="Katerine Schifino" userId="37bb67de-9fcf-4611-888c-7e5b58184a2a" providerId="ADAL" clId="{6B0A7616-E05F-413C-B432-12881B7C4D0D}" dt="2022-06-03T21:30:55.045" v="99" actId="20577"/>
          <ac:spMkLst>
            <pc:docMk/>
            <pc:sldMk cId="3261464579" sldId="2146846204"/>
            <ac:spMk id="8" creationId="{F3692B0D-82AC-41A6-A5BD-1A4B9AC9B985}"/>
          </ac:spMkLst>
        </pc:spChg>
      </pc:sldChg>
      <pc:sldChg chg="add">
        <pc:chgData name="Katerine Schifino" userId="37bb67de-9fcf-4611-888c-7e5b58184a2a" providerId="ADAL" clId="{6B0A7616-E05F-413C-B432-12881B7C4D0D}" dt="2022-06-03T21:14:52.784" v="0"/>
        <pc:sldMkLst>
          <pc:docMk/>
          <pc:sldMk cId="1066745227" sldId="2146846205"/>
        </pc:sldMkLst>
      </pc:sldChg>
      <pc:sldChg chg="addSp modSp add mod">
        <pc:chgData name="Katerine Schifino" userId="37bb67de-9fcf-4611-888c-7e5b58184a2a" providerId="ADAL" clId="{6B0A7616-E05F-413C-B432-12881B7C4D0D}" dt="2022-06-03T21:25:19.400" v="33"/>
        <pc:sldMkLst>
          <pc:docMk/>
          <pc:sldMk cId="1747800367" sldId="2146846206"/>
        </pc:sldMkLst>
        <pc:spChg chg="mod">
          <ac:chgData name="Katerine Schifino" userId="37bb67de-9fcf-4611-888c-7e5b58184a2a" providerId="ADAL" clId="{6B0A7616-E05F-413C-B432-12881B7C4D0D}" dt="2022-06-03T21:25:04.216" v="32"/>
          <ac:spMkLst>
            <pc:docMk/>
            <pc:sldMk cId="1747800367" sldId="2146846206"/>
            <ac:spMk id="7" creationId="{D26D72DD-8DF0-4733-A3C8-76B0DBD004B8}"/>
          </ac:spMkLst>
        </pc:spChg>
        <pc:spChg chg="mod">
          <ac:chgData name="Katerine Schifino" userId="37bb67de-9fcf-4611-888c-7e5b58184a2a" providerId="ADAL" clId="{6B0A7616-E05F-413C-B432-12881B7C4D0D}" dt="2022-06-03T21:15:44.904" v="9" actId="1076"/>
          <ac:spMkLst>
            <pc:docMk/>
            <pc:sldMk cId="1747800367" sldId="2146846206"/>
            <ac:spMk id="23" creationId="{597FF9D1-F615-46B8-82C4-43A456BE5991}"/>
          </ac:spMkLst>
        </pc:spChg>
        <pc:spChg chg="add mod">
          <ac:chgData name="Katerine Schifino" userId="37bb67de-9fcf-4611-888c-7e5b58184a2a" providerId="ADAL" clId="{6B0A7616-E05F-413C-B432-12881B7C4D0D}" dt="2022-06-03T21:25:19.400" v="33"/>
          <ac:spMkLst>
            <pc:docMk/>
            <pc:sldMk cId="1747800367" sldId="2146846206"/>
            <ac:spMk id="29" creationId="{D62E3DF2-E599-4508-BDFD-8F4653540991}"/>
          </ac:spMkLst>
        </pc:spChg>
      </pc:sldChg>
      <pc:sldChg chg="addSp modSp add mod">
        <pc:chgData name="Katerine Schifino" userId="37bb67de-9fcf-4611-888c-7e5b58184a2a" providerId="ADAL" clId="{6B0A7616-E05F-413C-B432-12881B7C4D0D}" dt="2022-06-03T21:17:47.162" v="31" actId="14100"/>
        <pc:sldMkLst>
          <pc:docMk/>
          <pc:sldMk cId="3346348537" sldId="2146846207"/>
        </pc:sldMkLst>
        <pc:spChg chg="add mod">
          <ac:chgData name="Katerine Schifino" userId="37bb67de-9fcf-4611-888c-7e5b58184a2a" providerId="ADAL" clId="{6B0A7616-E05F-413C-B432-12881B7C4D0D}" dt="2022-06-03T21:17:47.162" v="31" actId="14100"/>
          <ac:spMkLst>
            <pc:docMk/>
            <pc:sldMk cId="3346348537" sldId="2146846207"/>
            <ac:spMk id="16" creationId="{1A583E69-5C6D-4540-B0D6-299CB49D5E33}"/>
          </ac:spMkLst>
        </pc:spChg>
        <pc:spChg chg="mod">
          <ac:chgData name="Katerine Schifino" userId="37bb67de-9fcf-4611-888c-7e5b58184a2a" providerId="ADAL" clId="{6B0A7616-E05F-413C-B432-12881B7C4D0D}" dt="2022-06-03T21:16:20.228" v="15" actId="14100"/>
          <ac:spMkLst>
            <pc:docMk/>
            <pc:sldMk cId="3346348537" sldId="2146846207"/>
            <ac:spMk id="33" creationId="{10C7C999-D5CA-41E2-875A-0022D5E8EF28}"/>
          </ac:spMkLst>
        </pc:spChg>
      </pc:sldChg>
      <pc:sldChg chg="addSp delSp modSp add mod">
        <pc:chgData name="Katerine Schifino" userId="37bb67de-9fcf-4611-888c-7e5b58184a2a" providerId="ADAL" clId="{6B0A7616-E05F-413C-B432-12881B7C4D0D}" dt="2022-06-03T21:17:35.474" v="29" actId="1076"/>
        <pc:sldMkLst>
          <pc:docMk/>
          <pc:sldMk cId="200072417" sldId="2146846208"/>
        </pc:sldMkLst>
        <pc:spChg chg="add mod">
          <ac:chgData name="Katerine Schifino" userId="37bb67de-9fcf-4611-888c-7e5b58184a2a" providerId="ADAL" clId="{6B0A7616-E05F-413C-B432-12881B7C4D0D}" dt="2022-06-03T21:17:35.474" v="29" actId="1076"/>
          <ac:spMkLst>
            <pc:docMk/>
            <pc:sldMk cId="200072417" sldId="2146846208"/>
            <ac:spMk id="10" creationId="{39AD972E-CE7D-43F4-934C-7389034E039C}"/>
          </ac:spMkLst>
        </pc:spChg>
        <pc:spChg chg="add mod">
          <ac:chgData name="Katerine Schifino" userId="37bb67de-9fcf-4611-888c-7e5b58184a2a" providerId="ADAL" clId="{6B0A7616-E05F-413C-B432-12881B7C4D0D}" dt="2022-06-03T21:17:17.239" v="24" actId="115"/>
          <ac:spMkLst>
            <pc:docMk/>
            <pc:sldMk cId="200072417" sldId="2146846208"/>
            <ac:spMk id="12" creationId="{977C0ACD-D196-4466-917B-7DBB2B2798EE}"/>
          </ac:spMkLst>
        </pc:spChg>
        <pc:spChg chg="mod">
          <ac:chgData name="Katerine Schifino" userId="37bb67de-9fcf-4611-888c-7e5b58184a2a" providerId="ADAL" clId="{6B0A7616-E05F-413C-B432-12881B7C4D0D}" dt="2022-06-03T21:16:26.412" v="16" actId="14100"/>
          <ac:spMkLst>
            <pc:docMk/>
            <pc:sldMk cId="200072417" sldId="2146846208"/>
            <ac:spMk id="23" creationId="{597FF9D1-F615-46B8-82C4-43A456BE5991}"/>
          </ac:spMkLst>
        </pc:spChg>
        <pc:picChg chg="del">
          <ac:chgData name="Katerine Schifino" userId="37bb67de-9fcf-4611-888c-7e5b58184a2a" providerId="ADAL" clId="{6B0A7616-E05F-413C-B432-12881B7C4D0D}" dt="2022-06-03T21:15:08.536" v="2" actId="478"/>
          <ac:picMkLst>
            <pc:docMk/>
            <pc:sldMk cId="200072417" sldId="2146846208"/>
            <ac:picMk id="9220" creationId="{3E4CDDEB-CEED-4314-A149-F8BE3EFB4979}"/>
          </ac:picMkLst>
        </pc:picChg>
      </pc:sldChg>
      <pc:sldChg chg="addSp modSp add mod">
        <pc:chgData name="Katerine Schifino" userId="37bb67de-9fcf-4611-888c-7e5b58184a2a" providerId="ADAL" clId="{6B0A7616-E05F-413C-B432-12881B7C4D0D}" dt="2022-06-03T21:17:04.318" v="22" actId="113"/>
        <pc:sldMkLst>
          <pc:docMk/>
          <pc:sldMk cId="2846638286" sldId="2146846209"/>
        </pc:sldMkLst>
        <pc:spChg chg="mod">
          <ac:chgData name="Katerine Schifino" userId="37bb67de-9fcf-4611-888c-7e5b58184a2a" providerId="ADAL" clId="{6B0A7616-E05F-413C-B432-12881B7C4D0D}" dt="2022-06-03T21:16:33.964" v="17" actId="14100"/>
          <ac:spMkLst>
            <pc:docMk/>
            <pc:sldMk cId="2846638286" sldId="2146846209"/>
            <ac:spMk id="11" creationId="{41A23544-9FA8-46C1-A95B-36EDA981A4E4}"/>
          </ac:spMkLst>
        </pc:spChg>
        <pc:spChg chg="add mod">
          <ac:chgData name="Katerine Schifino" userId="37bb67de-9fcf-4611-888c-7e5b58184a2a" providerId="ADAL" clId="{6B0A7616-E05F-413C-B432-12881B7C4D0D}" dt="2022-06-03T21:16:51.376" v="20"/>
          <ac:spMkLst>
            <pc:docMk/>
            <pc:sldMk cId="2846638286" sldId="2146846209"/>
            <ac:spMk id="13" creationId="{74C8F687-6A4B-4B09-A3C4-EEA08441AE3D}"/>
          </ac:spMkLst>
        </pc:spChg>
        <pc:spChg chg="add mod">
          <ac:chgData name="Katerine Schifino" userId="37bb67de-9fcf-4611-888c-7e5b58184a2a" providerId="ADAL" clId="{6B0A7616-E05F-413C-B432-12881B7C4D0D}" dt="2022-06-03T21:17:04.318" v="22" actId="113"/>
          <ac:spMkLst>
            <pc:docMk/>
            <pc:sldMk cId="2846638286" sldId="2146846209"/>
            <ac:spMk id="15" creationId="{D2B2138C-E357-4387-8402-59757CB3F293}"/>
          </ac:spMkLst>
        </pc:spChg>
        <pc:spChg chg="mod">
          <ac:chgData name="Katerine Schifino" userId="37bb67de-9fcf-4611-888c-7e5b58184a2a" providerId="ADAL" clId="{6B0A7616-E05F-413C-B432-12881B7C4D0D}" dt="2022-06-03T21:16:39.017" v="19" actId="6549"/>
          <ac:spMkLst>
            <pc:docMk/>
            <pc:sldMk cId="2846638286" sldId="2146846209"/>
            <ac:spMk id="16" creationId="{666C3C8E-749D-4A36-AEAE-692812982359}"/>
          </ac:spMkLst>
        </pc:spChg>
      </pc:sldChg>
      <pc:sldChg chg="add">
        <pc:chgData name="Katerine Schifino" userId="37bb67de-9fcf-4611-888c-7e5b58184a2a" providerId="ADAL" clId="{6B0A7616-E05F-413C-B432-12881B7C4D0D}" dt="2022-06-03T21:26:18.984" v="34"/>
        <pc:sldMkLst>
          <pc:docMk/>
          <pc:sldMk cId="1704906298" sldId="2146846210"/>
        </pc:sldMkLst>
      </pc:sldChg>
      <pc:sldChg chg="addSp modSp add mod">
        <pc:chgData name="Katerine Schifino" userId="37bb67de-9fcf-4611-888c-7e5b58184a2a" providerId="ADAL" clId="{6B0A7616-E05F-413C-B432-12881B7C4D0D}" dt="2022-06-03T21:29:17.015" v="85" actId="20577"/>
        <pc:sldMkLst>
          <pc:docMk/>
          <pc:sldMk cId="4287312623" sldId="2146846211"/>
        </pc:sldMkLst>
        <pc:spChg chg="add mod">
          <ac:chgData name="Katerine Schifino" userId="37bb67de-9fcf-4611-888c-7e5b58184a2a" providerId="ADAL" clId="{6B0A7616-E05F-413C-B432-12881B7C4D0D}" dt="2022-06-03T21:29:17.015" v="85" actId="20577"/>
          <ac:spMkLst>
            <pc:docMk/>
            <pc:sldMk cId="4287312623" sldId="2146846211"/>
            <ac:spMk id="14" creationId="{DA22D66B-22A9-4DDD-9DB6-E222F1BAD06F}"/>
          </ac:spMkLst>
        </pc:spChg>
        <pc:spChg chg="add mod">
          <ac:chgData name="Katerine Schifino" userId="37bb67de-9fcf-4611-888c-7e5b58184a2a" providerId="ADAL" clId="{6B0A7616-E05F-413C-B432-12881B7C4D0D}" dt="2022-06-03T21:28:52.289" v="73"/>
          <ac:spMkLst>
            <pc:docMk/>
            <pc:sldMk cId="4287312623" sldId="2146846211"/>
            <ac:spMk id="15" creationId="{B4C764D3-4A86-4FEF-B6E5-11AEF09EBC93}"/>
          </ac:spMkLst>
        </pc:spChg>
        <pc:spChg chg="mod">
          <ac:chgData name="Katerine Schifino" userId="37bb67de-9fcf-4611-888c-7e5b58184a2a" providerId="ADAL" clId="{6B0A7616-E05F-413C-B432-12881B7C4D0D}" dt="2022-06-03T21:26:48.684" v="45" actId="1076"/>
          <ac:spMkLst>
            <pc:docMk/>
            <pc:sldMk cId="4287312623" sldId="2146846211"/>
            <ac:spMk id="18" creationId="{99AAD9F0-114B-45A3-9537-8D6C6CD9F0E6}"/>
          </ac:spMkLst>
        </pc:spChg>
        <pc:spChg chg="mod">
          <ac:chgData name="Katerine Schifino" userId="37bb67de-9fcf-4611-888c-7e5b58184a2a" providerId="ADAL" clId="{6B0A7616-E05F-413C-B432-12881B7C4D0D}" dt="2022-06-03T21:26:36.959" v="39" actId="1076"/>
          <ac:spMkLst>
            <pc:docMk/>
            <pc:sldMk cId="4287312623" sldId="2146846211"/>
            <ac:spMk id="19" creationId="{A29FCCBD-FF7B-4D38-BF7D-AE32D21EE252}"/>
          </ac:spMkLst>
        </pc:spChg>
        <pc:picChg chg="add mod">
          <ac:chgData name="Katerine Schifino" userId="37bb67de-9fcf-4611-888c-7e5b58184a2a" providerId="ADAL" clId="{6B0A7616-E05F-413C-B432-12881B7C4D0D}" dt="2022-06-03T21:26:27.466" v="36"/>
          <ac:picMkLst>
            <pc:docMk/>
            <pc:sldMk cId="4287312623" sldId="2146846211"/>
            <ac:picMk id="20" creationId="{72FB4B61-EAC7-494C-9097-60894943F413}"/>
          </ac:picMkLst>
        </pc:picChg>
        <pc:picChg chg="mod">
          <ac:chgData name="Katerine Schifino" userId="37bb67de-9fcf-4611-888c-7e5b58184a2a" providerId="ADAL" clId="{6B0A7616-E05F-413C-B432-12881B7C4D0D}" dt="2022-06-03T21:26:40.986" v="42" actId="1076"/>
          <ac:picMkLst>
            <pc:docMk/>
            <pc:sldMk cId="4287312623" sldId="2146846211"/>
            <ac:picMk id="7174" creationId="{0AB49698-9015-49D0-955D-A25DBF1773F6}"/>
          </ac:picMkLst>
        </pc:picChg>
      </pc:sldChg>
      <pc:sldChg chg="addSp delSp modSp add mod">
        <pc:chgData name="Katerine Schifino" userId="37bb67de-9fcf-4611-888c-7e5b58184a2a" providerId="ADAL" clId="{6B0A7616-E05F-413C-B432-12881B7C4D0D}" dt="2022-06-03T21:28:33.226" v="69" actId="113"/>
        <pc:sldMkLst>
          <pc:docMk/>
          <pc:sldMk cId="1602021366" sldId="2146846212"/>
        </pc:sldMkLst>
        <pc:spChg chg="add mod">
          <ac:chgData name="Katerine Schifino" userId="37bb67de-9fcf-4611-888c-7e5b58184a2a" providerId="ADAL" clId="{6B0A7616-E05F-413C-B432-12881B7C4D0D}" dt="2022-06-03T21:28:33.226" v="69" actId="113"/>
          <ac:spMkLst>
            <pc:docMk/>
            <pc:sldMk cId="1602021366" sldId="2146846212"/>
            <ac:spMk id="7" creationId="{10D67952-9BD1-4556-B354-1E5EB6C3ABF1}"/>
          </ac:spMkLst>
        </pc:spChg>
        <pc:spChg chg="del">
          <ac:chgData name="Katerine Schifino" userId="37bb67de-9fcf-4611-888c-7e5b58184a2a" providerId="ADAL" clId="{6B0A7616-E05F-413C-B432-12881B7C4D0D}" dt="2022-06-03T21:27:01.675" v="47" actId="478"/>
          <ac:spMkLst>
            <pc:docMk/>
            <pc:sldMk cId="1602021366" sldId="2146846212"/>
            <ac:spMk id="39" creationId="{FBC5878A-8F0E-4D0D-81F1-E3C9A3E133CA}"/>
          </ac:spMkLst>
        </pc:spChg>
        <pc:picChg chg="del">
          <ac:chgData name="Katerine Schifino" userId="37bb67de-9fcf-4611-888c-7e5b58184a2a" providerId="ADAL" clId="{6B0A7616-E05F-413C-B432-12881B7C4D0D}" dt="2022-06-03T21:27:02.669" v="48" actId="478"/>
          <ac:picMkLst>
            <pc:docMk/>
            <pc:sldMk cId="1602021366" sldId="2146846212"/>
            <ac:picMk id="25" creationId="{669ACA6D-D4AF-4EAD-BA9E-2B1AF82A8BE7}"/>
          </ac:picMkLst>
        </pc:picChg>
      </pc:sldChg>
      <pc:sldChg chg="addSp modSp add mod">
        <pc:chgData name="Katerine Schifino" userId="37bb67de-9fcf-4611-888c-7e5b58184a2a" providerId="ADAL" clId="{6B0A7616-E05F-413C-B432-12881B7C4D0D}" dt="2022-06-03T21:28:21.129" v="66" actId="1076"/>
        <pc:sldMkLst>
          <pc:docMk/>
          <pc:sldMk cId="2494668852" sldId="2146846213"/>
        </pc:sldMkLst>
        <pc:spChg chg="add mod">
          <ac:chgData name="Katerine Schifino" userId="37bb67de-9fcf-4611-888c-7e5b58184a2a" providerId="ADAL" clId="{6B0A7616-E05F-413C-B432-12881B7C4D0D}" dt="2022-06-03T21:28:21.129" v="66" actId="1076"/>
          <ac:spMkLst>
            <pc:docMk/>
            <pc:sldMk cId="2494668852" sldId="2146846213"/>
            <ac:spMk id="10" creationId="{36A83521-2A05-4E92-84B4-A8CF8AA49488}"/>
          </ac:spMkLst>
        </pc:spChg>
        <pc:spChg chg="mod">
          <ac:chgData name="Katerine Schifino" userId="37bb67de-9fcf-4611-888c-7e5b58184a2a" providerId="ADAL" clId="{6B0A7616-E05F-413C-B432-12881B7C4D0D}" dt="2022-06-03T21:27:17.727" v="53" actId="1076"/>
          <ac:spMkLst>
            <pc:docMk/>
            <pc:sldMk cId="2494668852" sldId="2146846213"/>
            <ac:spMk id="19" creationId="{96CAE5D9-122E-4FA6-A910-641FFE48A404}"/>
          </ac:spMkLst>
        </pc:spChg>
      </pc:sldChg>
      <pc:sldChg chg="addSp modSp add mod">
        <pc:chgData name="Katerine Schifino" userId="37bb67de-9fcf-4611-888c-7e5b58184a2a" providerId="ADAL" clId="{6B0A7616-E05F-413C-B432-12881B7C4D0D}" dt="2022-06-03T21:27:56.194" v="63"/>
        <pc:sldMkLst>
          <pc:docMk/>
          <pc:sldMk cId="518721206" sldId="2146846214"/>
        </pc:sldMkLst>
        <pc:spChg chg="add mod">
          <ac:chgData name="Katerine Schifino" userId="37bb67de-9fcf-4611-888c-7e5b58184a2a" providerId="ADAL" clId="{6B0A7616-E05F-413C-B432-12881B7C4D0D}" dt="2022-06-03T21:27:56.194" v="63"/>
          <ac:spMkLst>
            <pc:docMk/>
            <pc:sldMk cId="518721206" sldId="2146846214"/>
            <ac:spMk id="8" creationId="{6CD4BF36-C9BE-4845-A88E-CBA09EFB603D}"/>
          </ac:spMkLst>
        </pc:spChg>
        <pc:graphicFrameChg chg="mod modGraphic">
          <ac:chgData name="Katerine Schifino" userId="37bb67de-9fcf-4611-888c-7e5b58184a2a" providerId="ADAL" clId="{6B0A7616-E05F-413C-B432-12881B7C4D0D}" dt="2022-06-03T21:27:42.172" v="61" actId="14734"/>
          <ac:graphicFrameMkLst>
            <pc:docMk/>
            <pc:sldMk cId="518721206" sldId="2146846214"/>
            <ac:graphicFrameMk id="3" creationId="{1FAC86E6-7510-4026-A4EF-EEA428280EC2}"/>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06F8A2-BF16-4D86-9F38-7AC94E427353}" type="doc">
      <dgm:prSet loTypeId="urn:microsoft.com/office/officeart/2009/3/layout/DescendingProcess" loCatId="process" qsTypeId="urn:microsoft.com/office/officeart/2005/8/quickstyle/simple1" qsCatId="simple" csTypeId="urn:microsoft.com/office/officeart/2005/8/colors/accent1_2" csCatId="accent1" phldr="1"/>
      <dgm:spPr/>
      <dgm:t>
        <a:bodyPr/>
        <a:lstStyle/>
        <a:p>
          <a:endParaRPr lang="es-CO"/>
        </a:p>
      </dgm:t>
    </dgm:pt>
    <dgm:pt modelId="{52A2D2EA-2B17-4951-AA0E-63C272286935}">
      <dgm:prSet/>
      <dgm:spPr/>
      <dgm:t>
        <a:bodyPr/>
        <a:lstStyle/>
        <a:p>
          <a:r>
            <a:rPr lang="es-CO"/>
            <a:t>.</a:t>
          </a:r>
        </a:p>
      </dgm:t>
    </dgm:pt>
    <dgm:pt modelId="{28BE039A-4182-4F8E-9919-BA069ED07A2D}" type="parTrans" cxnId="{9588A040-A392-441D-95F8-BE72B27C6968}">
      <dgm:prSet/>
      <dgm:spPr/>
      <dgm:t>
        <a:bodyPr/>
        <a:lstStyle/>
        <a:p>
          <a:endParaRPr lang="es-CO"/>
        </a:p>
      </dgm:t>
    </dgm:pt>
    <dgm:pt modelId="{77A49364-493E-4C86-A547-CA3DCD4045CD}" type="sibTrans" cxnId="{9588A040-A392-441D-95F8-BE72B27C6968}">
      <dgm:prSet/>
      <dgm:spPr/>
      <dgm:t>
        <a:bodyPr/>
        <a:lstStyle/>
        <a:p>
          <a:endParaRPr lang="es-CO"/>
        </a:p>
      </dgm:t>
    </dgm:pt>
    <dgm:pt modelId="{4945944B-5B8A-4287-9A47-FFD5A50CCDAC}" type="pres">
      <dgm:prSet presAssocID="{3E06F8A2-BF16-4D86-9F38-7AC94E427353}" presName="Name0" presStyleCnt="0">
        <dgm:presLayoutVars>
          <dgm:chMax val="7"/>
          <dgm:chPref val="5"/>
        </dgm:presLayoutVars>
      </dgm:prSet>
      <dgm:spPr/>
    </dgm:pt>
    <dgm:pt modelId="{C7FDF110-2EC9-49F2-8B7B-C5A3A09ED4F9}" type="pres">
      <dgm:prSet presAssocID="{3E06F8A2-BF16-4D86-9F38-7AC94E427353}" presName="arrowNode" presStyleLbl="node1" presStyleIdx="0" presStyleCnt="1" custLinFactNeighborX="-48577" custLinFactNeighborY="-7647"/>
      <dgm:spPr>
        <a:solidFill>
          <a:schemeClr val="accent2">
            <a:lumMod val="60000"/>
            <a:lumOff val="40000"/>
          </a:schemeClr>
        </a:solidFill>
      </dgm:spPr>
    </dgm:pt>
    <dgm:pt modelId="{1B34F450-3AEE-4B4D-9487-0C14AAB78B55}" type="pres">
      <dgm:prSet presAssocID="{52A2D2EA-2B17-4951-AA0E-63C272286935}" presName="txNode1" presStyleLbl="revTx" presStyleIdx="0" presStyleCnt="1">
        <dgm:presLayoutVars>
          <dgm:bulletEnabled val="1"/>
        </dgm:presLayoutVars>
      </dgm:prSet>
      <dgm:spPr/>
    </dgm:pt>
  </dgm:ptLst>
  <dgm:cxnLst>
    <dgm:cxn modelId="{9588A040-A392-441D-95F8-BE72B27C6968}" srcId="{3E06F8A2-BF16-4D86-9F38-7AC94E427353}" destId="{52A2D2EA-2B17-4951-AA0E-63C272286935}" srcOrd="0" destOrd="0" parTransId="{28BE039A-4182-4F8E-9919-BA069ED07A2D}" sibTransId="{77A49364-493E-4C86-A547-CA3DCD4045CD}"/>
    <dgm:cxn modelId="{C9FB4856-0EAF-447D-B23B-63733EA46F70}" type="presOf" srcId="{52A2D2EA-2B17-4951-AA0E-63C272286935}" destId="{1B34F450-3AEE-4B4D-9487-0C14AAB78B55}" srcOrd="0" destOrd="0" presId="urn:microsoft.com/office/officeart/2009/3/layout/DescendingProcess"/>
    <dgm:cxn modelId="{583B70E4-6E07-417C-BE96-698CF92D8897}" type="presOf" srcId="{3E06F8A2-BF16-4D86-9F38-7AC94E427353}" destId="{4945944B-5B8A-4287-9A47-FFD5A50CCDAC}" srcOrd="0" destOrd="0" presId="urn:microsoft.com/office/officeart/2009/3/layout/DescendingProcess"/>
    <dgm:cxn modelId="{14C0E1D9-98AE-45F4-B510-C8C9D5F62255}" type="presParOf" srcId="{4945944B-5B8A-4287-9A47-FFD5A50CCDAC}" destId="{C7FDF110-2EC9-49F2-8B7B-C5A3A09ED4F9}" srcOrd="0" destOrd="0" presId="urn:microsoft.com/office/officeart/2009/3/layout/DescendingProcess"/>
    <dgm:cxn modelId="{FBCE4B63-FB8D-41B0-A7E5-8414ED1035E1}" type="presParOf" srcId="{4945944B-5B8A-4287-9A47-FFD5A50CCDAC}" destId="{1B34F450-3AEE-4B4D-9487-0C14AAB78B55}" srcOrd="1" destOrd="0" presId="urn:microsoft.com/office/officeart/2009/3/layout/DescendingProcess"/>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FDF110-2EC9-49F2-8B7B-C5A3A09ED4F9}">
      <dsp:nvSpPr>
        <dsp:cNvPr id="0" name=""/>
        <dsp:cNvSpPr/>
      </dsp:nvSpPr>
      <dsp:spPr>
        <a:xfrm rot="4396374">
          <a:off x="-88180" y="917275"/>
          <a:ext cx="3979286" cy="2775055"/>
        </a:xfrm>
        <a:prstGeom prst="swooshArrow">
          <a:avLst>
            <a:gd name="adj1" fmla="val 16310"/>
            <a:gd name="adj2" fmla="val 3137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34F450-3AEE-4B4D-9487-0C14AAB78B55}">
      <dsp:nvSpPr>
        <dsp:cNvPr id="0" name=""/>
        <dsp:cNvSpPr/>
      </dsp:nvSpPr>
      <dsp:spPr>
        <a:xfrm>
          <a:off x="1430449" y="0"/>
          <a:ext cx="1876110" cy="737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b" anchorCtr="0">
          <a:noAutofit/>
        </a:bodyPr>
        <a:lstStyle/>
        <a:p>
          <a:pPr marL="0" lvl="0" indent="0" algn="ctr" defTabSz="2000250">
            <a:lnSpc>
              <a:spcPct val="90000"/>
            </a:lnSpc>
            <a:spcBef>
              <a:spcPct val="0"/>
            </a:spcBef>
            <a:spcAft>
              <a:spcPct val="35000"/>
            </a:spcAft>
            <a:buNone/>
          </a:pPr>
          <a:r>
            <a:rPr lang="es-CO" sz="4500" kern="1200"/>
            <a:t>.</a:t>
          </a:r>
        </a:p>
      </dsp:txBody>
      <dsp:txXfrm>
        <a:off x="1430449" y="0"/>
        <a:ext cx="1876110" cy="737537"/>
      </dsp:txXfrm>
    </dsp:sp>
  </dsp:spTree>
</dsp:drawing>
</file>

<file path=ppt/diagrams/layout1.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3E4BD6-E97A-46A4-AA30-568852B539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a:extLst>
              <a:ext uri="{FF2B5EF4-FFF2-40B4-BE49-F238E27FC236}">
                <a16:creationId xmlns:a16="http://schemas.microsoft.com/office/drawing/2014/main" id="{58774AE6-0DA8-408F-8134-DDABC2EE87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287E9E-D2F8-4C1C-BC9F-E2CABAE66FE1}" type="datetimeFigureOut">
              <a:rPr lang="es-ES_tradnl" smtClean="0"/>
              <a:t>03/06/2022</a:t>
            </a:fld>
            <a:endParaRPr lang="es-ES_tradnl"/>
          </a:p>
        </p:txBody>
      </p:sp>
      <p:sp>
        <p:nvSpPr>
          <p:cNvPr id="4" name="Footer Placeholder 3">
            <a:extLst>
              <a:ext uri="{FF2B5EF4-FFF2-40B4-BE49-F238E27FC236}">
                <a16:creationId xmlns:a16="http://schemas.microsoft.com/office/drawing/2014/main" id="{1BDC6ADC-9CF6-47F3-86B4-4F7930AEF62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5" name="Slide Number Placeholder 4">
            <a:extLst>
              <a:ext uri="{FF2B5EF4-FFF2-40B4-BE49-F238E27FC236}">
                <a16:creationId xmlns:a16="http://schemas.microsoft.com/office/drawing/2014/main" id="{EF5CB9E5-1AC4-4BEF-9A42-4B32FD446B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A63E78-60CA-441E-BA25-D241C8EDB6AE}" type="slidenum">
              <a:rPr lang="es-ES_tradnl" smtClean="0"/>
              <a:t>‹#›</a:t>
            </a:fld>
            <a:endParaRPr lang="es-ES_tradnl"/>
          </a:p>
        </p:txBody>
      </p:sp>
    </p:spTree>
    <p:extLst>
      <p:ext uri="{BB962C8B-B14F-4D97-AF65-F5344CB8AC3E}">
        <p14:creationId xmlns:p14="http://schemas.microsoft.com/office/powerpoint/2010/main" val="35576315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D72FAD-8778-405C-8921-79F3C25589D4}" type="datetimeFigureOut">
              <a:rPr lang="es-MX" smtClean="0"/>
              <a:t>03/06/2022</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25E69-1CAA-46A9-A4D5-F2855D38AA5E}" type="slidenum">
              <a:rPr lang="es-MX" smtClean="0"/>
              <a:t>‹#›</a:t>
            </a:fld>
            <a:endParaRPr lang="es-MX"/>
          </a:p>
        </p:txBody>
      </p:sp>
    </p:spTree>
    <p:extLst>
      <p:ext uri="{BB962C8B-B14F-4D97-AF65-F5344CB8AC3E}">
        <p14:creationId xmlns:p14="http://schemas.microsoft.com/office/powerpoint/2010/main" val="385930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E69-1CAA-46A9-A4D5-F2855D38AA5E}"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995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BB325E69-1CAA-46A9-A4D5-F2855D38AA5E}" type="slidenum">
              <a:rPr lang="es-MX" smtClean="0"/>
              <a:t>5</a:t>
            </a:fld>
            <a:endParaRPr lang="es-MX"/>
          </a:p>
        </p:txBody>
      </p:sp>
    </p:spTree>
    <p:extLst>
      <p:ext uri="{BB962C8B-B14F-4D97-AF65-F5344CB8AC3E}">
        <p14:creationId xmlns:p14="http://schemas.microsoft.com/office/powerpoint/2010/main" val="925387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a:p>
        </p:txBody>
      </p:sp>
      <p:sp>
        <p:nvSpPr>
          <p:cNvPr id="4" name="Slide Number Placeholder 3"/>
          <p:cNvSpPr>
            <a:spLocks noGrp="1"/>
          </p:cNvSpPr>
          <p:nvPr>
            <p:ph type="sldNum" sz="quarter" idx="5"/>
          </p:nvPr>
        </p:nvSpPr>
        <p:spPr/>
        <p:txBody>
          <a:bodyPr/>
          <a:lstStyle/>
          <a:p>
            <a:fld id="{BB325E69-1CAA-46A9-A4D5-F2855D38AA5E}" type="slidenum">
              <a:rPr lang="es-MX" smtClean="0"/>
              <a:t>6</a:t>
            </a:fld>
            <a:endParaRPr lang="es-MX"/>
          </a:p>
        </p:txBody>
      </p:sp>
    </p:spTree>
    <p:extLst>
      <p:ext uri="{BB962C8B-B14F-4D97-AF65-F5344CB8AC3E}">
        <p14:creationId xmlns:p14="http://schemas.microsoft.com/office/powerpoint/2010/main" val="2080276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11</a:t>
            </a:fld>
            <a:endParaRPr lang="es-MX"/>
          </a:p>
        </p:txBody>
      </p:sp>
    </p:spTree>
    <p:extLst>
      <p:ext uri="{BB962C8B-B14F-4D97-AF65-F5344CB8AC3E}">
        <p14:creationId xmlns:p14="http://schemas.microsoft.com/office/powerpoint/2010/main" val="4166702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E69-1CAA-46A9-A4D5-F2855D38AA5E}"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6190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1"/>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7507048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6E1B5B37-6115-49BC-89C1-6D96CB79A92B}"/>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759410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1"/>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357596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764568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spTree>
    <p:extLst>
      <p:ext uri="{BB962C8B-B14F-4D97-AF65-F5344CB8AC3E}">
        <p14:creationId xmlns:p14="http://schemas.microsoft.com/office/powerpoint/2010/main" val="23488863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47471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29209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343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8975970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580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0910002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pic>
        <p:nvPicPr>
          <p:cNvPr id="8" name="Picture 4">
            <a:extLst>
              <a:ext uri="{FF2B5EF4-FFF2-40B4-BE49-F238E27FC236}">
                <a16:creationId xmlns:a16="http://schemas.microsoft.com/office/drawing/2014/main" id="{B4EA689D-80F7-4CD1-B2F1-CAEA0F17213D}"/>
              </a:ext>
            </a:extLst>
          </p:cNvPr>
          <p:cNvPicPr>
            <a:picLocks noChangeAspect="1" noChangeArrowheads="1"/>
          </p:cNvPicPr>
          <p:nvPr userDrawn="1"/>
        </p:nvPicPr>
        <p:blipFill>
          <a:blip r:embed="rId4">
            <a:alphaModFix amt="4000"/>
            <a:extLst>
              <a:ext uri="{28A0092B-C50C-407E-A947-70E740481C1C}">
                <a14:useLocalDpi xmlns:a14="http://schemas.microsoft.com/office/drawing/2010/main" val="0"/>
              </a:ext>
            </a:extLst>
          </a:blip>
          <a:srcRect/>
          <a:stretch>
            <a:fillRect/>
          </a:stretch>
        </p:blipFill>
        <p:spPr bwMode="auto">
          <a:xfrm>
            <a:off x="3102544" y="0"/>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C76B4DBF-9FB2-49CD-9916-3E041CA5728D}"/>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29671"/>
          <a:stretch/>
        </p:blipFill>
        <p:spPr bwMode="auto">
          <a:xfrm>
            <a:off x="-1" y="0"/>
            <a:ext cx="3429803"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8373B186-8D07-4B83-86BE-C88123E30371}"/>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13619"/>
          <a:stretch/>
        </p:blipFill>
        <p:spPr bwMode="auto">
          <a:xfrm>
            <a:off x="7979344" y="0"/>
            <a:ext cx="4212656"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8D6260DF-65BA-4B8E-93B3-CC06118EA2D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b="55989"/>
          <a:stretch/>
        </p:blipFill>
        <p:spPr bwMode="auto">
          <a:xfrm>
            <a:off x="-1" y="47117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5B9A083B-30D6-405F-8D76-C6762C4D1BDA}"/>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535" t="41448" r="-535" b="14541"/>
          <a:stretch/>
        </p:blipFill>
        <p:spPr bwMode="auto">
          <a:xfrm>
            <a:off x="4876799" y="48768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0D8FEBFE-B555-4112-981D-BB471C6AA65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53059" b="55989"/>
          <a:stretch/>
        </p:blipFill>
        <p:spPr bwMode="auto">
          <a:xfrm>
            <a:off x="9902791" y="4711700"/>
            <a:ext cx="2289209" cy="214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8558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9037011-340B-4BAD-A1B2-4E561233DAD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200254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2727365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9037011-340B-4BAD-A1B2-4E561233DAD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grpSp>
        <p:nvGrpSpPr>
          <p:cNvPr id="2" name="Group 1">
            <a:extLst>
              <a:ext uri="{FF2B5EF4-FFF2-40B4-BE49-F238E27FC236}">
                <a16:creationId xmlns:a16="http://schemas.microsoft.com/office/drawing/2014/main" id="{164DBBD2-31FA-49D4-A73C-F5618417CD78}"/>
              </a:ext>
            </a:extLst>
          </p:cNvPr>
          <p:cNvGrpSpPr/>
          <p:nvPr userDrawn="1"/>
        </p:nvGrpSpPr>
        <p:grpSpPr>
          <a:xfrm>
            <a:off x="317500" y="-143933"/>
            <a:ext cx="11874500" cy="7001933"/>
            <a:chOff x="317500" y="-143933"/>
            <a:chExt cx="11874500" cy="7001933"/>
          </a:xfrm>
        </p:grpSpPr>
        <p:pic>
          <p:nvPicPr>
            <p:cNvPr id="3" name="Picture 2">
              <a:extLst>
                <a:ext uri="{FF2B5EF4-FFF2-40B4-BE49-F238E27FC236}">
                  <a16:creationId xmlns:a16="http://schemas.microsoft.com/office/drawing/2014/main" id="{A65D2D27-6251-427D-8CD6-3877A0D07EAB}"/>
                </a:ext>
              </a:extLst>
            </p:cNvPr>
            <p:cNvPicPr>
              <a:picLocks noChangeAspect="1" noChangeArrowheads="1"/>
            </p:cNvPicPr>
            <p:nvPr userDrawn="1"/>
          </p:nvPicPr>
          <p:blipFill>
            <a:blip r:embed="rId4">
              <a:alphaModFix amt="5000"/>
              <a:extLst>
                <a:ext uri="{28A0092B-C50C-407E-A947-70E740481C1C}">
                  <a14:useLocalDpi xmlns:a14="http://schemas.microsoft.com/office/drawing/2010/main" val="0"/>
                </a:ext>
              </a:extLst>
            </a:blip>
            <a:srcRect/>
            <a:stretch>
              <a:fillRect/>
            </a:stretch>
          </p:blipFill>
          <p:spPr bwMode="auto">
            <a:xfrm>
              <a:off x="317500" y="-143933"/>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A3BC59E-D672-4A55-BAD3-02C118600F0E}"/>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t="10894"/>
            <a:stretch/>
          </p:blipFill>
          <p:spPr bwMode="auto">
            <a:xfrm>
              <a:off x="5413692" y="0"/>
              <a:ext cx="4876800" cy="434551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7A298334-0A8D-4F7D-BB05-50FDF31C692B}"/>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b="57400"/>
            <a:stretch/>
          </p:blipFill>
          <p:spPr bwMode="auto">
            <a:xfrm>
              <a:off x="1660525" y="4732867"/>
              <a:ext cx="4876800" cy="20775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C22F954-1D87-436F-A5A9-D0541938DB3A}"/>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t="69185" b="-1"/>
            <a:stretch/>
          </p:blipFill>
          <p:spPr bwMode="auto">
            <a:xfrm rot="5400000">
              <a:off x="9002183" y="2581804"/>
              <a:ext cx="4876800" cy="150283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BF425A56-2CCE-4909-8AB3-844871F624B9}"/>
                </a:ext>
              </a:extLst>
            </p:cNvPr>
            <p:cNvPicPr>
              <a:picLocks noChangeAspect="1" noChangeArrowheads="1"/>
            </p:cNvPicPr>
            <p:nvPr userDrawn="1"/>
          </p:nvPicPr>
          <p:blipFill rotWithShape="1">
            <a:blip r:embed="rId4">
              <a:alphaModFix amt="5000"/>
              <a:extLst>
                <a:ext uri="{28A0092B-C50C-407E-A947-70E740481C1C}">
                  <a14:useLocalDpi xmlns:a14="http://schemas.microsoft.com/office/drawing/2010/main" val="0"/>
                </a:ext>
              </a:extLst>
            </a:blip>
            <a:srcRect l="15820" t="10432" r="-2089" b="41651"/>
            <a:stretch/>
          </p:blipFill>
          <p:spPr bwMode="auto">
            <a:xfrm>
              <a:off x="6756717" y="4521199"/>
              <a:ext cx="4207192" cy="23368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799387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1F21DB-5843-46A9-879C-3A5E8A7D9224}"/>
              </a:ext>
            </a:extLst>
          </p:cNvPr>
          <p:cNvGraphicFramePr>
            <a:graphicFrameLocks noChangeAspect="1"/>
          </p:cNvGraphicFramePr>
          <p:nvPr userDrawn="1">
            <p:custDataLst>
              <p:tags r:id="rId1"/>
            </p:custDataLst>
            <p:extLst>
              <p:ext uri="{D42A27DB-BD31-4B8C-83A1-F6EECF244321}">
                <p14:modId xmlns:p14="http://schemas.microsoft.com/office/powerpoint/2010/main" val="111442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7" name="Object 6" hidden="1">
                        <a:extLst>
                          <a:ext uri="{FF2B5EF4-FFF2-40B4-BE49-F238E27FC236}">
                            <a16:creationId xmlns:a16="http://schemas.microsoft.com/office/drawing/2014/main" id="{381F21DB-5843-46A9-879C-3A5E8A7D92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176DC3-498F-4458-81DC-BF5F57B40C46}"/>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2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461840"/>
            <a:ext cx="10972800" cy="706698"/>
          </a:xfrm>
        </p:spPr>
        <p:txBody>
          <a:bodyPr anchor="b"/>
          <a:lstStyle>
            <a:lvl1pPr>
              <a:defRPr sz="32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1273101"/>
            <a:ext cx="1800000" cy="0"/>
          </a:xfrm>
          <a:prstGeom prst="line">
            <a:avLst/>
          </a:prstGeom>
          <a:noFill/>
          <a:ln w="57150" cap="flat" cmpd="sng" algn="ctr">
            <a:solidFill>
              <a:srgbClr val="EA3A55"/>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357791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4103166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pic>
        <p:nvPicPr>
          <p:cNvPr id="7" name="Imagen 3">
            <a:extLst>
              <a:ext uri="{FF2B5EF4-FFF2-40B4-BE49-F238E27FC236}">
                <a16:creationId xmlns:a16="http://schemas.microsoft.com/office/drawing/2014/main" id="{5DDB46BB-504E-458E-A537-90F69689168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428309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31990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79510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9211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5828582C-BE92-49CD-858B-13DF8815C2C1}"/>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640325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577130"/>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E06CCDC3-DD90-4D69-A5D8-FCBF52D8173F}"/>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704222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5" name="Imagen 3">
            <a:extLst>
              <a:ext uri="{FF2B5EF4-FFF2-40B4-BE49-F238E27FC236}">
                <a16:creationId xmlns:a16="http://schemas.microsoft.com/office/drawing/2014/main" id="{A02CB5F9-9194-4096-8636-3F5919D04DE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190710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 0 All White">
    <p:bg>
      <p:bgRef idx="1001">
        <a:schemeClr val="bg2"/>
      </p:bgRef>
    </p:bg>
    <p:spTree>
      <p:nvGrpSpPr>
        <p:cNvPr id="1" name=""/>
        <p:cNvGrpSpPr/>
        <p:nvPr/>
      </p:nvGrpSpPr>
      <p:grpSpPr>
        <a:xfrm>
          <a:off x="0" y="0"/>
          <a:ext cx="0" cy="0"/>
          <a:chOff x="0" y="0"/>
          <a:chExt cx="0" cy="0"/>
        </a:xfrm>
      </p:grpSpPr>
      <p:pic>
        <p:nvPicPr>
          <p:cNvPr id="4098" name="Picture 2" descr="Ver las imágenes de origen">
            <a:extLst>
              <a:ext uri="{FF2B5EF4-FFF2-40B4-BE49-F238E27FC236}">
                <a16:creationId xmlns:a16="http://schemas.microsoft.com/office/drawing/2014/main" id="{4E703E8E-4E32-45AE-BC11-E25ACED647D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778" r="21729" b="850"/>
          <a:stretch/>
        </p:blipFill>
        <p:spPr bwMode="auto">
          <a:xfrm flipH="1">
            <a:off x="1269998" y="0"/>
            <a:ext cx="10921999"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n 3">
            <a:extLst>
              <a:ext uri="{FF2B5EF4-FFF2-40B4-BE49-F238E27FC236}">
                <a16:creationId xmlns:a16="http://schemas.microsoft.com/office/drawing/2014/main" id="{A02CB5F9-9194-4096-8636-3F5919D04DE4}"/>
              </a:ext>
            </a:extLst>
          </p:cNvPr>
          <p:cNvPicPr>
            <a:picLocks noChangeAspect="1"/>
          </p:cNvPicPr>
          <p:nvPr userDrawn="1"/>
        </p:nvPicPr>
        <p:blipFill>
          <a:blip r:embed="rId3">
            <a:duotone>
              <a:prstClr val="black"/>
              <a:srgbClr val="EA3A55">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3004645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spTree>
    <p:extLst>
      <p:ext uri="{BB962C8B-B14F-4D97-AF65-F5344CB8AC3E}">
        <p14:creationId xmlns:p14="http://schemas.microsoft.com/office/powerpoint/2010/main" val="25845879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190AE70-C7DE-4E36-8798-0896F466C56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31" t="2075" r="4458" b="1076"/>
          <a:stretch/>
        </p:blipFill>
        <p:spPr>
          <a:xfrm>
            <a:off x="-6695" y="1"/>
            <a:ext cx="12205389" cy="6857999"/>
          </a:xfrm>
          <a:prstGeom prst="rect">
            <a:avLst/>
          </a:prstGeom>
        </p:spPr>
      </p:pic>
      <p:sp>
        <p:nvSpPr>
          <p:cNvPr id="2" name="Rectangle 1">
            <a:extLst>
              <a:ext uri="{FF2B5EF4-FFF2-40B4-BE49-F238E27FC236}">
                <a16:creationId xmlns:a16="http://schemas.microsoft.com/office/drawing/2014/main" id="{0261A137-DD6B-4294-830C-88B81D39DDC1}"/>
              </a:ext>
            </a:extLst>
          </p:cNvPr>
          <p:cNvSpPr/>
          <p:nvPr userDrawn="1"/>
        </p:nvSpPr>
        <p:spPr>
          <a:xfrm>
            <a:off x="0" y="0"/>
            <a:ext cx="12192000" cy="6858000"/>
          </a:xfrm>
          <a:prstGeom prst="rect">
            <a:avLst/>
          </a:prstGeom>
          <a:solidFill>
            <a:srgbClr val="747480">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5" name="TextBox 4">
            <a:extLst>
              <a:ext uri="{FF2B5EF4-FFF2-40B4-BE49-F238E27FC236}">
                <a16:creationId xmlns:a16="http://schemas.microsoft.com/office/drawing/2014/main" id="{0B719613-E832-4620-BA87-4359242092D5}"/>
              </a:ext>
            </a:extLst>
          </p:cNvPr>
          <p:cNvSpPr txBox="1"/>
          <p:nvPr userDrawn="1"/>
        </p:nvSpPr>
        <p:spPr>
          <a:xfrm>
            <a:off x="609600" y="6496185"/>
            <a:ext cx="527923" cy="123111"/>
          </a:xfrm>
          <a:prstGeom prst="rect">
            <a:avLst/>
          </a:prstGeom>
          <a:noFill/>
        </p:spPr>
        <p:txBody>
          <a:bodyPr vert="horz" wrap="square" lIns="0" tIns="0" rIns="0" bIns="0" rtlCol="0" anchor="t" anchorCtr="0">
            <a:spAutoFit/>
          </a:bodyPr>
          <a:lstStyle/>
          <a:p>
            <a:pPr marL="0" algn="ctr" defTabSz="914400" rtl="0" eaLnBrk="1" latinLnBrk="0" hangingPunct="1"/>
            <a:r>
              <a:rPr lang="en-GB" sz="800" kern="1200">
                <a:solidFill>
                  <a:schemeClr val="tx1"/>
                </a:solidFill>
                <a:latin typeface="EYInterstate Light" panose="02000506000000020004" pitchFamily="2" charset="0"/>
                <a:ea typeface="+mn-ea"/>
                <a:cs typeface="+mn-cs"/>
              </a:rPr>
              <a:t>Page </a:t>
            </a:r>
            <a:fld id="{9AE4D82F-B047-469B-AC52-A46321747EAF}" type="slidenum">
              <a:rPr lang="en-GB" sz="800" kern="1200" smtClean="0">
                <a:solidFill>
                  <a:schemeClr val="tx1"/>
                </a:solidFill>
                <a:latin typeface="EYInterstate Light" panose="02000506000000020004" pitchFamily="2" charset="0"/>
                <a:ea typeface="+mn-ea"/>
                <a:cs typeface="+mn-cs"/>
              </a:rPr>
              <a:pPr marL="0" algn="ctr" defTabSz="914400" rtl="0" eaLnBrk="1" latinLnBrk="0" hangingPunct="1"/>
              <a:t>‹#›</a:t>
            </a:fld>
            <a:endParaRPr lang="en-GB" sz="800" kern="1200">
              <a:solidFill>
                <a:schemeClr val="tx1"/>
              </a:solidFill>
              <a:latin typeface="EYInterstate Light" panose="02000506000000020004" pitchFamily="2" charset="0"/>
              <a:ea typeface="+mn-ea"/>
              <a:cs typeface="+mn-cs"/>
            </a:endParaRPr>
          </a:p>
        </p:txBody>
      </p:sp>
      <p:grpSp>
        <p:nvGrpSpPr>
          <p:cNvPr id="6" name="Group 4">
            <a:extLst>
              <a:ext uri="{FF2B5EF4-FFF2-40B4-BE49-F238E27FC236}">
                <a16:creationId xmlns:a16="http://schemas.microsoft.com/office/drawing/2014/main" id="{F51043E7-0453-4947-A971-36D68605E356}"/>
              </a:ext>
            </a:extLst>
          </p:cNvPr>
          <p:cNvGrpSpPr>
            <a:grpSpLocks noChangeAspect="1"/>
          </p:cNvGrpSpPr>
          <p:nvPr userDrawn="1"/>
        </p:nvGrpSpPr>
        <p:grpSpPr bwMode="auto">
          <a:xfrm>
            <a:off x="11045952" y="6327649"/>
            <a:ext cx="536448" cy="412867"/>
            <a:chOff x="7110" y="4004"/>
            <a:chExt cx="191" cy="196"/>
          </a:xfrm>
        </p:grpSpPr>
        <p:sp>
          <p:nvSpPr>
            <p:cNvPr id="7" name="Freeform 5">
              <a:extLst>
                <a:ext uri="{FF2B5EF4-FFF2-40B4-BE49-F238E27FC236}">
                  <a16:creationId xmlns:a16="http://schemas.microsoft.com/office/drawing/2014/main" id="{0D1321DF-59A2-46B5-A741-5F9533F7684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solidFill>
                  <a:schemeClr val="tx1"/>
                </a:solidFill>
                <a:latin typeface="EYInterstate Light" panose="02000506000000020004" pitchFamily="2" charset="0"/>
              </a:endParaRPr>
            </a:p>
          </p:txBody>
        </p:sp>
        <p:sp>
          <p:nvSpPr>
            <p:cNvPr id="8" name="Freeform 6">
              <a:extLst>
                <a:ext uri="{FF2B5EF4-FFF2-40B4-BE49-F238E27FC236}">
                  <a16:creationId xmlns:a16="http://schemas.microsoft.com/office/drawing/2014/main" id="{95DEF224-4BDC-4900-91F3-F957A6BE305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solidFill>
                  <a:schemeClr val="tx1"/>
                </a:solidFill>
                <a:latin typeface="EYInterstate Light" panose="02000506000000020004" pitchFamily="2" charset="0"/>
              </a:endParaRPr>
            </a:p>
          </p:txBody>
        </p:sp>
        <p:sp>
          <p:nvSpPr>
            <p:cNvPr id="9" name="Freeform 7">
              <a:extLst>
                <a:ext uri="{FF2B5EF4-FFF2-40B4-BE49-F238E27FC236}">
                  <a16:creationId xmlns:a16="http://schemas.microsoft.com/office/drawing/2014/main" id="{CFA626A2-897F-4C3A-9317-132BA54CA73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solidFill>
                  <a:schemeClr val="tx1"/>
                </a:solidFill>
                <a:latin typeface="EYInterstate Light" panose="02000506000000020004" pitchFamily="2" charset="0"/>
              </a:endParaRPr>
            </a:p>
          </p:txBody>
        </p:sp>
      </p:grpSp>
      <p:sp>
        <p:nvSpPr>
          <p:cNvPr id="10" name="TextBox 9">
            <a:extLst>
              <a:ext uri="{FF2B5EF4-FFF2-40B4-BE49-F238E27FC236}">
                <a16:creationId xmlns:a16="http://schemas.microsoft.com/office/drawing/2014/main" id="{39900689-D0A1-433C-ABFE-041164272DD5}"/>
              </a:ext>
            </a:extLst>
          </p:cNvPr>
          <p:cNvSpPr txBox="1"/>
          <p:nvPr userDrawn="1"/>
        </p:nvSpPr>
        <p:spPr>
          <a:xfrm>
            <a:off x="5654641" y="6521725"/>
            <a:ext cx="882721" cy="123111"/>
          </a:xfrm>
          <a:prstGeom prst="rect">
            <a:avLst/>
          </a:prstGeom>
          <a:noFill/>
        </p:spPr>
        <p:txBody>
          <a:bodyPr vert="horz" wrap="square" lIns="0" tIns="0" rIns="0" bIns="0" rtlCol="0" anchor="t" anchorCtr="0">
            <a:spAutoFit/>
          </a:bodyPr>
          <a:lstStyle/>
          <a:p>
            <a:pPr marL="0" algn="ctr" defTabSz="914400" rtl="0" eaLnBrk="1" latinLnBrk="0" hangingPunct="1"/>
            <a:r>
              <a:rPr lang="en-IN" sz="800" kern="1200">
                <a:solidFill>
                  <a:schemeClr val="tx1"/>
                </a:solidFill>
                <a:latin typeface="EYInterstate Light" panose="02000506000000020004" pitchFamily="2" charset="0"/>
                <a:ea typeface="+mn-ea"/>
                <a:cs typeface="+mn-cs"/>
              </a:rPr>
              <a:t>EY POWER Up</a:t>
            </a:r>
          </a:p>
        </p:txBody>
      </p:sp>
    </p:spTree>
    <p:extLst>
      <p:ext uri="{BB962C8B-B14F-4D97-AF65-F5344CB8AC3E}">
        <p14:creationId xmlns:p14="http://schemas.microsoft.com/office/powerpoint/2010/main" val="666027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27933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935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 0 All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D122A6A-E87D-4B92-904F-81FA3E9576D6}"/>
              </a:ext>
            </a:extLst>
          </p:cNvPr>
          <p:cNvSpPr/>
          <p:nvPr userDrawn="1"/>
        </p:nvSpPr>
        <p:spPr>
          <a:xfrm>
            <a:off x="1269186" y="1135976"/>
            <a:ext cx="9541689" cy="5173134"/>
          </a:xfrm>
          <a:custGeom>
            <a:avLst/>
            <a:gdLst>
              <a:gd name="connsiteX0" fmla="*/ 0 w 9208607"/>
              <a:gd name="connsiteY0" fmla="*/ 0 h 5173134"/>
              <a:gd name="connsiteX1" fmla="*/ 9208607 w 9208607"/>
              <a:gd name="connsiteY1" fmla="*/ 0 h 5173134"/>
              <a:gd name="connsiteX2" fmla="*/ 9208607 w 9208607"/>
              <a:gd name="connsiteY2" fmla="*/ 5173134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8607 w 9208607"/>
              <a:gd name="connsiteY2" fmla="*/ 3589867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0140 w 9208607"/>
              <a:gd name="connsiteY2" fmla="*/ 3716867 h 5173134"/>
              <a:gd name="connsiteX3" fmla="*/ 0 w 9208607"/>
              <a:gd name="connsiteY3" fmla="*/ 5173134 h 5173134"/>
              <a:gd name="connsiteX4" fmla="*/ 0 w 9208607"/>
              <a:gd name="connsiteY4" fmla="*/ 0 h 5173134"/>
              <a:gd name="connsiteX0" fmla="*/ 0 w 9209421"/>
              <a:gd name="connsiteY0" fmla="*/ 0 h 5173134"/>
              <a:gd name="connsiteX1" fmla="*/ 9208607 w 9209421"/>
              <a:gd name="connsiteY1" fmla="*/ 0 h 5173134"/>
              <a:gd name="connsiteX2" fmla="*/ 9208607 w 9209421"/>
              <a:gd name="connsiteY2" fmla="*/ 3759201 h 5173134"/>
              <a:gd name="connsiteX3" fmla="*/ 0 w 9209421"/>
              <a:gd name="connsiteY3" fmla="*/ 5173134 h 5173134"/>
              <a:gd name="connsiteX4" fmla="*/ 0 w 9209421"/>
              <a:gd name="connsiteY4" fmla="*/ 0 h 517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9421" h="5173134">
                <a:moveTo>
                  <a:pt x="0" y="0"/>
                </a:moveTo>
                <a:lnTo>
                  <a:pt x="9208607" y="0"/>
                </a:lnTo>
                <a:cubicBezTo>
                  <a:pt x="9205785" y="1238956"/>
                  <a:pt x="9211429" y="2520245"/>
                  <a:pt x="9208607" y="3759201"/>
                </a:cubicBezTo>
                <a:lnTo>
                  <a:pt x="0" y="5173134"/>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 name="Imagen 3">
            <a:extLst>
              <a:ext uri="{FF2B5EF4-FFF2-40B4-BE49-F238E27FC236}">
                <a16:creationId xmlns:a16="http://schemas.microsoft.com/office/drawing/2014/main" id="{2233CC0D-0D94-4C61-9698-A9A5C2F76774}"/>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51096"/>
            <a:ext cx="1502833" cy="376285"/>
          </a:xfrm>
          <a:prstGeom prst="rect">
            <a:avLst/>
          </a:prstGeom>
        </p:spPr>
      </p:pic>
    </p:spTree>
    <p:extLst>
      <p:ext uri="{BB962C8B-B14F-4D97-AF65-F5344CB8AC3E}">
        <p14:creationId xmlns:p14="http://schemas.microsoft.com/office/powerpoint/2010/main" val="5607376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9211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A45A21FB-7988-4B88-B265-0D14E4D602DE}"/>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446075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205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59D4E56A-5705-480C-A56C-EA2C4F2FCCD8}"/>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1349287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577130"/>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B7748EE4-40E2-4C4D-9701-6CFE9E0CDC66}"/>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4570632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7.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6.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image" Target="../media/image1.emf"/><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11.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ags" Target="../tags/tag10.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image" Target="../media/image1.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2"/>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3246918"/>
      </p:ext>
    </p:extLst>
  </p:cSld>
  <p:clrMap bg1="lt1" tx1="dk1" bg2="lt2" tx2="dk2" accent1="accent1" accent2="accent2" accent3="accent3" accent4="accent4" accent5="accent5" accent6="accent6" hlink="hlink" folHlink="folHlink"/>
  <p:sldLayoutIdLst>
    <p:sldLayoutId id="2147483712" r:id="rId1"/>
    <p:sldLayoutId id="2147483670" r:id="rId2"/>
    <p:sldLayoutId id="2147483699" r:id="rId3"/>
    <p:sldLayoutId id="2147483711" r:id="rId4"/>
    <p:sldLayoutId id="2147483985" r:id="rId5"/>
    <p:sldLayoutId id="2147483983" r:id="rId6"/>
    <p:sldLayoutId id="2147483986" r:id="rId7"/>
    <p:sldLayoutId id="2147483990" r:id="rId8"/>
    <p:sldLayoutId id="2147483989" r:id="rId9"/>
    <p:sldLayoutId id="2147483987" r:id="rId10"/>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2"/>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66221672"/>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10" r:id="rId6"/>
    <p:sldLayoutId id="2147484011" r:id="rId7"/>
    <p:sldLayoutId id="2147484012" r:id="rId8"/>
    <p:sldLayoutId id="2147484013" r:id="rId9"/>
    <p:sldLayoutId id="2147484014" r:id="rId10"/>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2"/>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41311843"/>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2" r:id="rId6"/>
    <p:sldLayoutId id="2147484023" r:id="rId7"/>
    <p:sldLayoutId id="2147484024" r:id="rId8"/>
    <p:sldLayoutId id="2147484026" r:id="rId9"/>
    <p:sldLayoutId id="2147484025" r:id="rId10"/>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7.xml"/><Relationship Id="rId5" Type="http://schemas.openxmlformats.org/officeDocument/2006/relationships/image" Target="../media/image11.sv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13.sv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image" Target="../media/image15.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3692B0D-82AC-41A6-A5BD-1A4B9AC9B985}"/>
              </a:ext>
            </a:extLst>
          </p:cNvPr>
          <p:cNvSpPr txBox="1"/>
          <p:nvPr/>
        </p:nvSpPr>
        <p:spPr>
          <a:xfrm>
            <a:off x="3864987" y="2190899"/>
            <a:ext cx="7343363" cy="3901837"/>
          </a:xfrm>
          <a:prstGeom prst="rect">
            <a:avLst/>
          </a:prstGeom>
          <a:noFill/>
        </p:spPr>
        <p:txBody>
          <a:bodyPr wrap="square" rtlCol="0">
            <a:spAutoFit/>
          </a:bodyPr>
          <a:lstStyle/>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 develop this individual challenge you have to choose ONE of the methods presented in class</a:t>
            </a:r>
          </a:p>
          <a:p>
            <a:pPr marL="800100" lvl="1" indent="-342900">
              <a:lnSpc>
                <a:spcPct val="150000"/>
              </a:lnSpc>
              <a:buFont typeface="Arial" panose="020B0604020202020204" pitchFamily="34" charset="0"/>
              <a:buChar char="•"/>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vergent </a:t>
            </a:r>
            <a:r>
              <a:rPr kumimoji="0" lang="en-US" sz="2400" b="1" i="0" u="none" strike="noStrike" kern="1200" cap="none" spc="0" normalizeH="0" baseline="0" noProof="0" dirty="0">
                <a:ln>
                  <a:noFill/>
                </a:ln>
                <a:solidFill>
                  <a:srgbClr val="EA3A55"/>
                </a:solidFill>
                <a:effectLst/>
                <a:uLnTx/>
                <a:uFillTx/>
                <a:latin typeface="Arial" panose="020B0604020202020204" pitchFamily="34" charset="0"/>
                <a:ea typeface="+mn-ea"/>
                <a:cs typeface="Arial" panose="020B0604020202020204" pitchFamily="34" charset="0"/>
              </a:rPr>
              <a:t>or</a:t>
            </a: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ivergent </a:t>
            </a: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1" fontAlgn="auto" latinLnBrk="0" hangingPunct="1">
              <a:lnSpc>
                <a:spcPct val="150000"/>
              </a:lnSpc>
              <a:spcBef>
                <a:spcPts val="0"/>
              </a:spcBef>
              <a:spcAft>
                <a:spcPts val="0"/>
              </a:spcAft>
              <a:buClrTx/>
              <a:buSzTx/>
              <a:buFont typeface="+mj-lt"/>
              <a:buAutoNum type="arabicPeriod"/>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f you choose to develop both, keep in mind that you will only receive </a:t>
            </a:r>
            <a:r>
              <a:rPr kumimoji="0" lang="en-US" sz="2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eedback for </a:t>
            </a: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E.</a:t>
            </a:r>
          </a:p>
        </p:txBody>
      </p:sp>
      <p:pic>
        <p:nvPicPr>
          <p:cNvPr id="5126" name="Picture 6">
            <a:extLst>
              <a:ext uri="{FF2B5EF4-FFF2-40B4-BE49-F238E27FC236}">
                <a16:creationId xmlns:a16="http://schemas.microsoft.com/office/drawing/2014/main" id="{895C0EEB-02B6-450D-A21B-41CA55BD36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4866" y="2922618"/>
            <a:ext cx="2438400" cy="2438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4DD7FEEC-0773-44D1-9A60-54252FA5D7DB}"/>
              </a:ext>
            </a:extLst>
          </p:cNvPr>
          <p:cNvSpPr txBox="1"/>
          <p:nvPr/>
        </p:nvSpPr>
        <p:spPr>
          <a:xfrm>
            <a:off x="283633" y="450488"/>
            <a:ext cx="11624733" cy="130516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DIVIDUAL CHALLENG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kumimoji="0" lang="es-CO" sz="2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onvergent</a:t>
            </a: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nd </a:t>
            </a:r>
            <a:r>
              <a:rPr kumimoji="0" lang="es-CO" sz="2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divergent</a:t>
            </a: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xperimental </a:t>
            </a:r>
            <a:r>
              <a:rPr kumimoji="0" lang="es-CO" sz="2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method</a:t>
            </a: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32614645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597FF9D1-F615-46B8-82C4-43A456BE5991}"/>
              </a:ext>
            </a:extLst>
          </p:cNvPr>
          <p:cNvSpPr txBox="1"/>
          <p:nvPr/>
        </p:nvSpPr>
        <p:spPr>
          <a:xfrm>
            <a:off x="4456099" y="1034205"/>
            <a:ext cx="5500702" cy="1077218"/>
          </a:xfrm>
          <a:prstGeom prst="rect">
            <a:avLst/>
          </a:prstGeom>
          <a:noFill/>
        </p:spPr>
        <p:txBody>
          <a:bodyPr wrap="square">
            <a:spAutoFit/>
          </a:bodyPr>
          <a:lstStyle/>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Generate multiple ideas to solve the defined problem. </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You can do this ideation exercise with your team.</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Keep in mind that the goal should always be to generate multiple viable ideas, without discarding them.</a:t>
            </a: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4. </a:t>
            </a:r>
            <a:r>
              <a:rPr lang="es-CO" sz="1600" b="1" dirty="0" err="1">
                <a:solidFill>
                  <a:schemeClr val="bg1"/>
                </a:solidFill>
                <a:latin typeface="Arial" panose="020B0604020202020204" pitchFamily="34" charset="0"/>
                <a:cs typeface="Arial" panose="020B0604020202020204" pitchFamily="34" charset="0"/>
              </a:rPr>
              <a:t>Generate</a:t>
            </a:r>
            <a:r>
              <a:rPr lang="es-CO" sz="1600" b="1" dirty="0">
                <a:solidFill>
                  <a:schemeClr val="bg1"/>
                </a:solidFill>
                <a:latin typeface="Arial" panose="020B0604020202020204" pitchFamily="34" charset="0"/>
                <a:cs typeface="Arial" panose="020B0604020202020204" pitchFamily="34" charset="0"/>
              </a:rPr>
              <a:t> ideas</a:t>
            </a:r>
          </a:p>
        </p:txBody>
      </p:sp>
      <p:sp>
        <p:nvSpPr>
          <p:cNvPr id="5" name="Rectangle 4">
            <a:extLst>
              <a:ext uri="{FF2B5EF4-FFF2-40B4-BE49-F238E27FC236}">
                <a16:creationId xmlns:a16="http://schemas.microsoft.com/office/drawing/2014/main" id="{F3F5B77B-C5B7-467A-B39D-86CFB13FDDC7}"/>
              </a:ext>
            </a:extLst>
          </p:cNvPr>
          <p:cNvSpPr/>
          <p:nvPr/>
        </p:nvSpPr>
        <p:spPr>
          <a:xfrm>
            <a:off x="670029" y="2368765"/>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5. </a:t>
            </a:r>
            <a:r>
              <a:rPr lang="es-CO" sz="1600" b="1" dirty="0" err="1">
                <a:solidFill>
                  <a:schemeClr val="bg1"/>
                </a:solidFill>
                <a:latin typeface="Arial" panose="020B0604020202020204" pitchFamily="34" charset="0"/>
                <a:cs typeface="Arial" panose="020B0604020202020204" pitchFamily="34" charset="0"/>
              </a:rPr>
              <a:t>Build</a:t>
            </a:r>
            <a:r>
              <a:rPr lang="es-CO" sz="1600" b="1" dirty="0">
                <a:solidFill>
                  <a:schemeClr val="bg1"/>
                </a:solidFill>
                <a:latin typeface="Arial" panose="020B0604020202020204" pitchFamily="34" charset="0"/>
                <a:cs typeface="Arial" panose="020B0604020202020204" pitchFamily="34" charset="0"/>
              </a:rPr>
              <a:t> </a:t>
            </a:r>
            <a:r>
              <a:rPr lang="es-CO" sz="1600" b="1" dirty="0" err="1">
                <a:solidFill>
                  <a:schemeClr val="bg1"/>
                </a:solidFill>
                <a:latin typeface="Arial" panose="020B0604020202020204" pitchFamily="34" charset="0"/>
                <a:cs typeface="Arial" panose="020B0604020202020204" pitchFamily="34" charset="0"/>
              </a:rPr>
              <a:t>an</a:t>
            </a:r>
            <a:r>
              <a:rPr lang="es-CO" sz="1600" b="1" dirty="0">
                <a:solidFill>
                  <a:schemeClr val="bg1"/>
                </a:solidFill>
                <a:latin typeface="Arial" panose="020B0604020202020204" pitchFamily="34" charset="0"/>
                <a:cs typeface="Arial" panose="020B0604020202020204" pitchFamily="34" charset="0"/>
              </a:rPr>
              <a:t> MVP</a:t>
            </a:r>
          </a:p>
        </p:txBody>
      </p:sp>
      <p:sp>
        <p:nvSpPr>
          <p:cNvPr id="7" name="TextBox 6">
            <a:extLst>
              <a:ext uri="{FF2B5EF4-FFF2-40B4-BE49-F238E27FC236}">
                <a16:creationId xmlns:a16="http://schemas.microsoft.com/office/drawing/2014/main" id="{D26D72DD-8DF0-4733-A3C8-76B0DBD004B8}"/>
              </a:ext>
            </a:extLst>
          </p:cNvPr>
          <p:cNvSpPr txBox="1"/>
          <p:nvPr/>
        </p:nvSpPr>
        <p:spPr>
          <a:xfrm>
            <a:off x="654119" y="3161189"/>
            <a:ext cx="10915581" cy="1107996"/>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Remember that great ideas are worthless unless you can test them with the customer. Therefore, in this step you should translate your ideas into minimum viable prototypes (MVP).</a:t>
            </a:r>
          </a:p>
          <a:p>
            <a:endParaRPr lang="es-CO" sz="1600" b="1" dirty="0">
              <a:solidFill>
                <a:schemeClr val="bg1"/>
              </a:solidFill>
              <a:latin typeface="Arial" panose="020B0604020202020204" pitchFamily="34" charset="0"/>
              <a:cs typeface="Arial" panose="020B0604020202020204" pitchFamily="34" charset="0"/>
            </a:endParaRPr>
          </a:p>
          <a:p>
            <a:pPr algn="ctr"/>
            <a:r>
              <a:rPr lang="en-US" b="1" dirty="0">
                <a:solidFill>
                  <a:schemeClr val="bg1"/>
                </a:solidFill>
                <a:latin typeface="Arial" panose="020B0604020202020204" pitchFamily="34" charset="0"/>
                <a:cs typeface="Arial" panose="020B0604020202020204" pitchFamily="34" charset="0"/>
              </a:rPr>
              <a:t>MVP: minimum cost + maximum learning.</a:t>
            </a:r>
            <a:endParaRPr lang="es-CO" b="1" dirty="0">
              <a:solidFill>
                <a:schemeClr val="bg1"/>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4569AF6A-ED16-4E74-80E6-C0570928E4D6}"/>
              </a:ext>
            </a:extLst>
          </p:cNvPr>
          <p:cNvSpPr txBox="1"/>
          <p:nvPr/>
        </p:nvSpPr>
        <p:spPr>
          <a:xfrm>
            <a:off x="670028" y="4663424"/>
            <a:ext cx="4306233" cy="1323439"/>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If an MVP is successful, further iterations will follow. As progress is made, successive prototypes should evolve from lower to higher functionality (e.g. from a sketch to a model to a functional product). </a:t>
            </a:r>
          </a:p>
        </p:txBody>
      </p:sp>
      <p:pic>
        <p:nvPicPr>
          <p:cNvPr id="9218" name="Picture 2" descr="Ver las imágenes de origen">
            <a:extLst>
              <a:ext uri="{FF2B5EF4-FFF2-40B4-BE49-F238E27FC236}">
                <a16:creationId xmlns:a16="http://schemas.microsoft.com/office/drawing/2014/main" id="{85AB0EE7-0824-40C6-9D9A-04ABCED7E98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0400"/>
          <a:stretch/>
        </p:blipFill>
        <p:spPr bwMode="auto">
          <a:xfrm>
            <a:off x="5405388" y="4564646"/>
            <a:ext cx="2535454" cy="1891368"/>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11248950-96C2-4F7E-BEF7-FB80C74A253A}"/>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Tool: </a:t>
            </a:r>
            <a:r>
              <a:rPr lang="es-CO" sz="2000" b="1" dirty="0" err="1">
                <a:solidFill>
                  <a:schemeClr val="bg1"/>
                </a:solidFill>
                <a:highlight>
                  <a:srgbClr val="EA3A55"/>
                </a:highlight>
                <a:latin typeface="Arial" panose="020B0604020202020204" pitchFamily="34" charset="0"/>
                <a:cs typeface="Arial" panose="020B0604020202020204" pitchFamily="34" charset="0"/>
              </a:rPr>
              <a:t>divergent</a:t>
            </a:r>
            <a:r>
              <a:rPr lang="es-CO" sz="2000" b="1" dirty="0">
                <a:solidFill>
                  <a:schemeClr val="bg1"/>
                </a:solidFill>
                <a:latin typeface="Arial" panose="020B0604020202020204" pitchFamily="34" charset="0"/>
                <a:cs typeface="Arial" panose="020B0604020202020204" pitchFamily="34" charset="0"/>
              </a:rPr>
              <a:t> experimental </a:t>
            </a:r>
            <a:r>
              <a:rPr lang="es-CO" sz="2000" b="1" dirty="0" err="1">
                <a:solidFill>
                  <a:schemeClr val="bg1"/>
                </a:solidFill>
                <a:latin typeface="Arial" panose="020B0604020202020204" pitchFamily="34" charset="0"/>
                <a:cs typeface="Arial" panose="020B0604020202020204" pitchFamily="34" charset="0"/>
              </a:rPr>
              <a:t>method</a:t>
            </a:r>
            <a:endParaRPr lang="es-CO" sz="2000" b="1" dirty="0">
              <a:solidFill>
                <a:schemeClr val="bg1"/>
              </a:solidFill>
              <a:latin typeface="Arial" panose="020B0604020202020204" pitchFamily="34" charset="0"/>
              <a:cs typeface="Arial" panose="020B0604020202020204" pitchFamily="34" charset="0"/>
            </a:endParaRPr>
          </a:p>
        </p:txBody>
      </p:sp>
      <p:sp>
        <p:nvSpPr>
          <p:cNvPr id="10" name="Rectangle: Folded Corner 9">
            <a:extLst>
              <a:ext uri="{FF2B5EF4-FFF2-40B4-BE49-F238E27FC236}">
                <a16:creationId xmlns:a16="http://schemas.microsoft.com/office/drawing/2014/main" id="{39AD972E-CE7D-43F4-934C-7389034E039C}"/>
              </a:ext>
            </a:extLst>
          </p:cNvPr>
          <p:cNvSpPr/>
          <p:nvPr/>
        </p:nvSpPr>
        <p:spPr>
          <a:xfrm>
            <a:off x="10062281" y="1018682"/>
            <a:ext cx="1684866" cy="1413934"/>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200" dirty="0">
                <a:solidFill>
                  <a:schemeClr val="tx1"/>
                </a:solidFill>
                <a:latin typeface="Arial" panose="020B0604020202020204" pitchFamily="34" charset="0"/>
                <a:cs typeface="Arial" panose="020B0604020202020204" pitchFamily="34" charset="0"/>
              </a:rPr>
              <a:t>By ideas we mean proposals for new products, services or experiences that meet the customer's need or solve the customer's problem.</a:t>
            </a:r>
          </a:p>
        </p:txBody>
      </p:sp>
      <p:sp>
        <p:nvSpPr>
          <p:cNvPr id="12" name="Rectangle: Folded Corner 11">
            <a:extLst>
              <a:ext uri="{FF2B5EF4-FFF2-40B4-BE49-F238E27FC236}">
                <a16:creationId xmlns:a16="http://schemas.microsoft.com/office/drawing/2014/main" id="{977C0ACD-D196-4466-917B-7DBB2B2798EE}"/>
              </a:ext>
            </a:extLst>
          </p:cNvPr>
          <p:cNvSpPr/>
          <p:nvPr/>
        </p:nvSpPr>
        <p:spPr>
          <a:xfrm>
            <a:off x="8369969" y="4564646"/>
            <a:ext cx="2382698" cy="1891368"/>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600" dirty="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Build an MVP for </a:t>
            </a:r>
            <a:r>
              <a:rPr lang="en-US" sz="1600" u="sng" dirty="0">
                <a:solidFill>
                  <a:schemeClr val="tx1"/>
                </a:solidFill>
                <a:latin typeface="Arial" panose="020B0604020202020204" pitchFamily="34" charset="0"/>
                <a:cs typeface="Arial" panose="020B0604020202020204" pitchFamily="34" charset="0"/>
              </a:rPr>
              <a:t>ONE</a:t>
            </a:r>
            <a:r>
              <a:rPr lang="en-US" sz="1600" dirty="0">
                <a:solidFill>
                  <a:schemeClr val="tx1"/>
                </a:solidFill>
                <a:latin typeface="Arial" panose="020B0604020202020204" pitchFamily="34" charset="0"/>
                <a:cs typeface="Arial" panose="020B0604020202020204" pitchFamily="34" charset="0"/>
              </a:rPr>
              <a:t> of your ideas and attach a photo with a brief explanation of what it is.</a:t>
            </a:r>
          </a:p>
        </p:txBody>
      </p:sp>
    </p:spTree>
    <p:extLst>
      <p:ext uri="{BB962C8B-B14F-4D97-AF65-F5344CB8AC3E}">
        <p14:creationId xmlns:p14="http://schemas.microsoft.com/office/powerpoint/2010/main" val="200072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Tool: </a:t>
            </a:r>
            <a:r>
              <a:rPr lang="es-CO" sz="2000" b="1" dirty="0" err="1">
                <a:solidFill>
                  <a:schemeClr val="bg1"/>
                </a:solidFill>
                <a:highlight>
                  <a:srgbClr val="EA3A55"/>
                </a:highlight>
                <a:latin typeface="Arial" panose="020B0604020202020204" pitchFamily="34" charset="0"/>
                <a:cs typeface="Arial" panose="020B0604020202020204" pitchFamily="34" charset="0"/>
              </a:rPr>
              <a:t>divergent</a:t>
            </a:r>
            <a:r>
              <a:rPr lang="es-CO" sz="2000" b="1" dirty="0">
                <a:solidFill>
                  <a:schemeClr val="bg1"/>
                </a:solidFill>
                <a:latin typeface="Arial" panose="020B0604020202020204" pitchFamily="34" charset="0"/>
                <a:cs typeface="Arial" panose="020B0604020202020204" pitchFamily="34" charset="0"/>
              </a:rPr>
              <a:t> experimental </a:t>
            </a:r>
            <a:r>
              <a:rPr lang="es-CO" sz="2000" b="1" dirty="0" err="1">
                <a:solidFill>
                  <a:schemeClr val="bg1"/>
                </a:solidFill>
                <a:latin typeface="Arial" panose="020B0604020202020204" pitchFamily="34" charset="0"/>
                <a:cs typeface="Arial" panose="020B0604020202020204" pitchFamily="34" charset="0"/>
              </a:rPr>
              <a:t>method</a:t>
            </a:r>
            <a:endParaRPr lang="es-CO" sz="2000" b="1" dirty="0">
              <a:solidFill>
                <a:schemeClr val="bg1"/>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597FF9D1-F615-46B8-82C4-43A456BE5991}"/>
              </a:ext>
            </a:extLst>
          </p:cNvPr>
          <p:cNvSpPr txBox="1"/>
          <p:nvPr/>
        </p:nvSpPr>
        <p:spPr>
          <a:xfrm>
            <a:off x="4456098" y="1034205"/>
            <a:ext cx="6661081" cy="584775"/>
          </a:xfrm>
          <a:prstGeom prst="rect">
            <a:avLst/>
          </a:prstGeom>
          <a:noFill/>
        </p:spPr>
        <p:txBody>
          <a:bodyPr wrap="square">
            <a:spAutoFit/>
          </a:bodyPr>
          <a:lstStyle/>
          <a:p>
            <a:r>
              <a:rPr lang="en-US" sz="1600">
                <a:solidFill>
                  <a:schemeClr val="bg1"/>
                </a:solidFill>
                <a:latin typeface="Arial" panose="020B0604020202020204" pitchFamily="34" charset="0"/>
                <a:cs typeface="Arial" panose="020B0604020202020204" pitchFamily="34" charset="0"/>
              </a:rPr>
              <a:t>After building a minimum viable prototype of your idea, the next step is to test it. </a:t>
            </a:r>
            <a:endParaRPr lang="en-US" sz="1600" dirty="0">
              <a:solidFill>
                <a:schemeClr val="bg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6. Test </a:t>
            </a:r>
            <a:r>
              <a:rPr lang="es-CO" sz="1600" b="1" dirty="0" err="1">
                <a:solidFill>
                  <a:schemeClr val="bg1"/>
                </a:solidFill>
                <a:latin typeface="Arial" panose="020B0604020202020204" pitchFamily="34" charset="0"/>
                <a:cs typeface="Arial" panose="020B0604020202020204" pitchFamily="34" charset="0"/>
              </a:rPr>
              <a:t>it</a:t>
            </a:r>
            <a:endParaRPr lang="es-CO" sz="1600" b="1" dirty="0">
              <a:solidFill>
                <a:schemeClr val="bg1"/>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41A23544-9FA8-46C1-A95B-36EDA981A4E4}"/>
              </a:ext>
            </a:extLst>
          </p:cNvPr>
          <p:cNvSpPr txBox="1"/>
          <p:nvPr/>
        </p:nvSpPr>
        <p:spPr>
          <a:xfrm>
            <a:off x="654119" y="1930735"/>
            <a:ext cx="8413681" cy="1323439"/>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When choosing how and where to test, look for an environment that is as natural as possible, i.e. as close as possible to the real context in which the final solution will be used. </a:t>
            </a:r>
          </a:p>
          <a:p>
            <a:endParaRPr lang="en-US" sz="1600" dirty="0">
              <a:solidFill>
                <a:schemeClr val="bg1"/>
              </a:solidFill>
              <a:latin typeface="Arial" panose="020B0604020202020204" pitchFamily="34" charset="0"/>
              <a:cs typeface="Arial" panose="020B0604020202020204" pitchFamily="34" charset="0"/>
            </a:endParaRPr>
          </a:p>
          <a:p>
            <a:r>
              <a:rPr lang="en-US" sz="1600" dirty="0">
                <a:solidFill>
                  <a:schemeClr val="bg1"/>
                </a:solidFill>
                <a:latin typeface="Arial" panose="020B0604020202020204" pitchFamily="34" charset="0"/>
                <a:cs typeface="Arial" panose="020B0604020202020204" pitchFamily="34" charset="0"/>
              </a:rPr>
              <a:t>You should also test your prototype with an audience as close as possible to the customers you expect to use the final version.</a:t>
            </a:r>
          </a:p>
        </p:txBody>
      </p:sp>
      <p:sp>
        <p:nvSpPr>
          <p:cNvPr id="12" name="Rectangle 11">
            <a:extLst>
              <a:ext uri="{FF2B5EF4-FFF2-40B4-BE49-F238E27FC236}">
                <a16:creationId xmlns:a16="http://schemas.microsoft.com/office/drawing/2014/main" id="{51D094F1-649F-4230-8502-5B69C0E6075F}"/>
              </a:ext>
            </a:extLst>
          </p:cNvPr>
          <p:cNvSpPr/>
          <p:nvPr/>
        </p:nvSpPr>
        <p:spPr>
          <a:xfrm>
            <a:off x="654119" y="3546788"/>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7. Decide</a:t>
            </a:r>
          </a:p>
        </p:txBody>
      </p:sp>
      <p:sp>
        <p:nvSpPr>
          <p:cNvPr id="14" name="TextBox 13">
            <a:extLst>
              <a:ext uri="{FF2B5EF4-FFF2-40B4-BE49-F238E27FC236}">
                <a16:creationId xmlns:a16="http://schemas.microsoft.com/office/drawing/2014/main" id="{CDEFBBD5-78DA-4295-A01A-795CFF1AE7A1}"/>
              </a:ext>
            </a:extLst>
          </p:cNvPr>
          <p:cNvSpPr txBox="1"/>
          <p:nvPr/>
        </p:nvSpPr>
        <p:spPr>
          <a:xfrm>
            <a:off x="5636511" y="3535453"/>
            <a:ext cx="5592144" cy="830997"/>
          </a:xfrm>
          <a:prstGeom prst="rect">
            <a:avLst/>
          </a:prstGeom>
          <a:noFill/>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Proceed: </a:t>
            </a:r>
            <a:r>
              <a:rPr lang="en-US" sz="1600" dirty="0">
                <a:solidFill>
                  <a:schemeClr val="bg1"/>
                </a:solidFill>
                <a:latin typeface="Arial" panose="020B0604020202020204" pitchFamily="34" charset="0"/>
                <a:cs typeface="Arial" panose="020B0604020202020204" pitchFamily="34" charset="0"/>
              </a:rPr>
              <a:t>If your test has validated the potential success of your ideas, you can move on to the next iteration to improve your prototype.</a:t>
            </a:r>
          </a:p>
        </p:txBody>
      </p:sp>
      <p:sp>
        <p:nvSpPr>
          <p:cNvPr id="16" name="TextBox 15">
            <a:extLst>
              <a:ext uri="{FF2B5EF4-FFF2-40B4-BE49-F238E27FC236}">
                <a16:creationId xmlns:a16="http://schemas.microsoft.com/office/drawing/2014/main" id="{666C3C8E-749D-4A36-AEAE-692812982359}"/>
              </a:ext>
            </a:extLst>
          </p:cNvPr>
          <p:cNvSpPr txBox="1"/>
          <p:nvPr/>
        </p:nvSpPr>
        <p:spPr>
          <a:xfrm>
            <a:off x="1760125" y="4583663"/>
            <a:ext cx="7561675" cy="1815882"/>
          </a:xfrm>
          <a:prstGeom prst="rect">
            <a:avLst/>
          </a:prstGeom>
          <a:noFill/>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Pivot: </a:t>
            </a:r>
            <a:r>
              <a:rPr lang="en-US" sz="1600" dirty="0">
                <a:solidFill>
                  <a:schemeClr val="bg1"/>
                </a:solidFill>
                <a:latin typeface="Arial" panose="020B0604020202020204" pitchFamily="34" charset="0"/>
                <a:cs typeface="Arial" panose="020B0604020202020204" pitchFamily="34" charset="0"/>
              </a:rPr>
              <a:t>If your testing has revealed problems, you may need to adjust your idea based on what you have learned or try another solution to see if it is more promising.</a:t>
            </a:r>
          </a:p>
          <a:p>
            <a:endParaRPr lang="en-US" sz="1600" dirty="0">
              <a:solidFill>
                <a:schemeClr val="bg1"/>
              </a:solidFill>
              <a:latin typeface="Arial" panose="020B0604020202020204" pitchFamily="34" charset="0"/>
              <a:cs typeface="Arial" panose="020B0604020202020204" pitchFamily="34" charset="0"/>
            </a:endParaRPr>
          </a:p>
          <a:p>
            <a:endParaRPr lang="en-US" sz="1600" b="1" dirty="0">
              <a:solidFill>
                <a:schemeClr val="bg1"/>
              </a:solidFill>
              <a:latin typeface="Arial" panose="020B0604020202020204" pitchFamily="34" charset="0"/>
              <a:cs typeface="Arial" panose="020B0604020202020204" pitchFamily="34" charset="0"/>
            </a:endParaRPr>
          </a:p>
          <a:p>
            <a:r>
              <a:rPr lang="en-US" sz="1600" b="1" dirty="0">
                <a:solidFill>
                  <a:schemeClr val="bg1"/>
                </a:solidFill>
                <a:latin typeface="Arial" panose="020B0604020202020204" pitchFamily="34" charset="0"/>
                <a:cs typeface="Arial" panose="020B0604020202020204" pitchFamily="34" charset="0"/>
              </a:rPr>
              <a:t>Disconnect: </a:t>
            </a:r>
            <a:r>
              <a:rPr lang="en-US" sz="1600" dirty="0">
                <a:solidFill>
                  <a:schemeClr val="bg1"/>
                </a:solidFill>
                <a:latin typeface="Arial" panose="020B0604020202020204" pitchFamily="34" charset="0"/>
                <a:cs typeface="Arial" panose="020B0604020202020204" pitchFamily="34" charset="0"/>
              </a:rPr>
              <a:t>If you have tried all solutions or have reached your time or budget limit, it is time to stop the process and evaluate what you have learned. </a:t>
            </a:r>
          </a:p>
        </p:txBody>
      </p:sp>
      <p:pic>
        <p:nvPicPr>
          <p:cNvPr id="11266" name="Picture 2">
            <a:extLst>
              <a:ext uri="{FF2B5EF4-FFF2-40B4-BE49-F238E27FC236}">
                <a16:creationId xmlns:a16="http://schemas.microsoft.com/office/drawing/2014/main" id="{AEA83DA9-B968-487E-8C22-E75697A6C1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7080878">
            <a:off x="340746" y="5321589"/>
            <a:ext cx="1383660" cy="1383660"/>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a:extLst>
              <a:ext uri="{FF2B5EF4-FFF2-40B4-BE49-F238E27FC236}">
                <a16:creationId xmlns:a16="http://schemas.microsoft.com/office/drawing/2014/main" id="{9B3C7CBF-B708-4046-8779-B48E6412D9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4304" y="3539315"/>
            <a:ext cx="699436" cy="699436"/>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a:extLst>
              <a:ext uri="{FF2B5EF4-FFF2-40B4-BE49-F238E27FC236}">
                <a16:creationId xmlns:a16="http://schemas.microsoft.com/office/drawing/2014/main" id="{6B1F7787-A361-45A0-B256-F602BE0B58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1419" y="4437359"/>
            <a:ext cx="939507" cy="93950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Folded Corner 12">
            <a:extLst>
              <a:ext uri="{FF2B5EF4-FFF2-40B4-BE49-F238E27FC236}">
                <a16:creationId xmlns:a16="http://schemas.microsoft.com/office/drawing/2014/main" id="{74C8F687-6A4B-4B09-A3C4-EEA08441AE3D}"/>
              </a:ext>
            </a:extLst>
          </p:cNvPr>
          <p:cNvSpPr/>
          <p:nvPr/>
        </p:nvSpPr>
        <p:spPr>
          <a:xfrm>
            <a:off x="9245868" y="1510301"/>
            <a:ext cx="2507768" cy="1918699"/>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200" dirty="0">
                <a:solidFill>
                  <a:schemeClr val="tx1"/>
                </a:solidFill>
                <a:latin typeface="Arial" panose="020B0604020202020204" pitchFamily="34" charset="0"/>
                <a:cs typeface="Arial" panose="020B0604020202020204" pitchFamily="34" charset="0"/>
              </a:rPr>
              <a:t>Due to time constraints, we do not expect you to conduct the experiment and present results yet. </a:t>
            </a:r>
          </a:p>
          <a:p>
            <a:endParaRPr lang="en-US"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However, we do expect you to explain how you would test your prototype, with whom, where, how you will design the experience, and how you will test it.</a:t>
            </a:r>
          </a:p>
        </p:txBody>
      </p:sp>
      <p:sp>
        <p:nvSpPr>
          <p:cNvPr id="15" name="Rectangle: Folded Corner 14">
            <a:extLst>
              <a:ext uri="{FF2B5EF4-FFF2-40B4-BE49-F238E27FC236}">
                <a16:creationId xmlns:a16="http://schemas.microsoft.com/office/drawing/2014/main" id="{D2B2138C-E357-4387-8402-59757CB3F293}"/>
              </a:ext>
            </a:extLst>
          </p:cNvPr>
          <p:cNvSpPr/>
          <p:nvPr/>
        </p:nvSpPr>
        <p:spPr>
          <a:xfrm>
            <a:off x="9419564" y="4655364"/>
            <a:ext cx="2507768" cy="1918699"/>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400" dirty="0">
              <a:solidFill>
                <a:schemeClr val="tx1"/>
              </a:solidFill>
              <a:latin typeface="Arial" panose="020B0604020202020204" pitchFamily="34" charset="0"/>
              <a:cs typeface="Arial" panose="020B0604020202020204" pitchFamily="34" charset="0"/>
            </a:endParaRPr>
          </a:p>
          <a:p>
            <a:r>
              <a:rPr lang="en-US" sz="1400" b="1" dirty="0">
                <a:solidFill>
                  <a:schemeClr val="tx1"/>
                </a:solidFill>
                <a:latin typeface="Arial" panose="020B0604020202020204" pitchFamily="34" charset="0"/>
                <a:cs typeface="Arial" panose="020B0604020202020204" pitchFamily="34" charset="0"/>
              </a:rPr>
              <a:t>This step is optional. </a:t>
            </a:r>
          </a:p>
          <a:p>
            <a:endParaRPr lang="en-US" sz="1400" b="1" dirty="0">
              <a:solidFill>
                <a:schemeClr val="tx1"/>
              </a:solidFill>
              <a:latin typeface="Arial" panose="020B0604020202020204" pitchFamily="34" charset="0"/>
              <a:cs typeface="Arial" panose="020B0604020202020204" pitchFamily="34" charset="0"/>
            </a:endParaRPr>
          </a:p>
          <a:p>
            <a:r>
              <a:rPr lang="en-US" sz="1400" dirty="0">
                <a:solidFill>
                  <a:schemeClr val="tx1"/>
                </a:solidFill>
                <a:latin typeface="Arial" panose="020B0604020202020204" pitchFamily="34" charset="0"/>
                <a:cs typeface="Arial" panose="020B0604020202020204" pitchFamily="34" charset="0"/>
              </a:rPr>
              <a:t>If you succeed in testing your prototype, this is the step where you describe the results and decide what the next steps are.</a:t>
            </a:r>
          </a:p>
        </p:txBody>
      </p:sp>
    </p:spTree>
    <p:extLst>
      <p:ext uri="{BB962C8B-B14F-4D97-AF65-F5344CB8AC3E}">
        <p14:creationId xmlns:p14="http://schemas.microsoft.com/office/powerpoint/2010/main" val="28466382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283633" y="450488"/>
            <a:ext cx="11624733" cy="130516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TO INDIVIDUAL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étodo experimental convergente y divergente"</a:t>
            </a:r>
          </a:p>
        </p:txBody>
      </p:sp>
      <p:sp>
        <p:nvSpPr>
          <p:cNvPr id="8" name="TextBox 7">
            <a:extLst>
              <a:ext uri="{FF2B5EF4-FFF2-40B4-BE49-F238E27FC236}">
                <a16:creationId xmlns:a16="http://schemas.microsoft.com/office/drawing/2014/main" id="{F3692B0D-82AC-41A6-A5BD-1A4B9AC9B985}"/>
              </a:ext>
            </a:extLst>
          </p:cNvPr>
          <p:cNvSpPr txBox="1"/>
          <p:nvPr/>
        </p:nvSpPr>
        <p:spPr>
          <a:xfrm>
            <a:off x="3698016" y="2408878"/>
            <a:ext cx="7921593" cy="2985433"/>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Fecha</a:t>
            </a: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e </a:t>
            </a:r>
            <a:r>
              <a:rPr kumimoji="0" lang="en-GB" sz="24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entrega</a:t>
            </a: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Viernes, 24 de </a:t>
            </a:r>
            <a:r>
              <a:rPr kumimoji="0" lang="en-GB" sz="2400" b="1" i="0" u="none" strike="noStrike" kern="1200" cap="none" spc="0" normalizeH="0" baseline="0" noProof="0" dirty="0" err="1">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junio</a:t>
            </a:r>
            <a:endParaRPr kumimoji="0" lang="en-GB" sz="2400" b="1" i="0" u="none" strike="noStrike" kern="1200" cap="none" spc="0" normalizeH="0" baseline="3000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Sube el archivo a la Academia </a:t>
            </a:r>
            <a:r>
              <a:rPr lang="es-CO" sz="2000" dirty="0" err="1">
                <a:solidFill>
                  <a:schemeClr val="bg1"/>
                </a:solidFill>
                <a:latin typeface="Arial" panose="020B0604020202020204" pitchFamily="34" charset="0"/>
                <a:cs typeface="Arial" panose="020B0604020202020204" pitchFamily="34" charset="0"/>
              </a:rPr>
              <a:t>ConnectAmericas</a:t>
            </a:r>
            <a:r>
              <a:rPr lang="es-CO" sz="2000" dirty="0">
                <a:solidFill>
                  <a:schemeClr val="bg1"/>
                </a:solidFill>
                <a:latin typeface="Arial" panose="020B0604020202020204" pitchFamily="34" charset="0"/>
                <a:cs typeface="Arial" panose="020B0604020202020204" pitchFamily="34" charset="0"/>
              </a:rPr>
              <a:t> en la siguiente ruta: </a:t>
            </a:r>
            <a:r>
              <a:rPr lang="es-CO" sz="2000" b="1" u="sng" dirty="0">
                <a:solidFill>
                  <a:srgbClr val="A97FF0"/>
                </a:solidFill>
                <a:latin typeface="Arial" panose="020B0604020202020204" pitchFamily="34" charset="0"/>
                <a:cs typeface="Arial" panose="020B0604020202020204" pitchFamily="34" charset="0"/>
              </a:rPr>
              <a:t>Tema 4 Agilismo y nuevas formas de trabajo - Clase 4 Herramientas - Reto Individual</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Puedes subir archivos en PDF, </a:t>
            </a:r>
            <a:r>
              <a:rPr lang="es-CO" sz="2000" dirty="0" err="1">
                <a:solidFill>
                  <a:schemeClr val="bg1"/>
                </a:solidFill>
                <a:latin typeface="Arial" panose="020B0604020202020204" pitchFamily="34" charset="0"/>
                <a:cs typeface="Arial" panose="020B0604020202020204" pitchFamily="34" charset="0"/>
              </a:rPr>
              <a:t>Powerpoint</a:t>
            </a:r>
            <a:r>
              <a:rPr lang="es-CO" sz="2000" dirty="0">
                <a:solidFill>
                  <a:schemeClr val="bg1"/>
                </a:solidFill>
                <a:latin typeface="Arial" panose="020B0604020202020204" pitchFamily="34" charset="0"/>
                <a:cs typeface="Arial" panose="020B0604020202020204" pitchFamily="34" charset="0"/>
              </a:rPr>
              <a:t>, Word, Excel, Imágenes (PNG, JPG), entre otros. </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Por favor, asegúrate de que el archivo es legible ya que sólo puede ser subido a la Academia una vez. </a:t>
            </a:r>
          </a:p>
        </p:txBody>
      </p:sp>
      <p:pic>
        <p:nvPicPr>
          <p:cNvPr id="10246" name="Picture 6">
            <a:extLst>
              <a:ext uri="{FF2B5EF4-FFF2-40B4-BE49-F238E27FC236}">
                <a16:creationId xmlns:a16="http://schemas.microsoft.com/office/drawing/2014/main" id="{463BF0BE-64B7-4F44-8757-D00444FAE8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391" y="2607644"/>
            <a:ext cx="2793087" cy="2793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413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a:solidFill>
                  <a:schemeClr val="bg1"/>
                </a:solidFill>
                <a:latin typeface="Arial" panose="020B0604020202020204" pitchFamily="34" charset="0"/>
                <a:cs typeface="Arial" panose="020B0604020202020204" pitchFamily="34" charset="0"/>
              </a:rPr>
              <a:t>Tool: </a:t>
            </a:r>
            <a:r>
              <a:rPr lang="es-CO" sz="2000" b="1" err="1">
                <a:solidFill>
                  <a:schemeClr val="bg1"/>
                </a:solidFill>
                <a:latin typeface="Arial" panose="020B0604020202020204" pitchFamily="34" charset="0"/>
                <a:cs typeface="Arial" panose="020B0604020202020204" pitchFamily="34" charset="0"/>
              </a:rPr>
              <a:t>convergent</a:t>
            </a:r>
            <a:r>
              <a:rPr lang="es-CO" sz="2000" b="1">
                <a:solidFill>
                  <a:schemeClr val="bg1"/>
                </a:solidFill>
                <a:latin typeface="Arial" panose="020B0604020202020204" pitchFamily="34" charset="0"/>
                <a:cs typeface="Arial" panose="020B0604020202020204" pitchFamily="34" charset="0"/>
              </a:rPr>
              <a:t> experimental </a:t>
            </a:r>
            <a:r>
              <a:rPr lang="es-CO" sz="2000" b="1" err="1">
                <a:solidFill>
                  <a:schemeClr val="bg1"/>
                </a:solidFill>
                <a:latin typeface="Arial" panose="020B0604020202020204" pitchFamily="34" charset="0"/>
                <a:cs typeface="Arial" panose="020B0604020202020204" pitchFamily="34" charset="0"/>
              </a:rPr>
              <a:t>method</a:t>
            </a:r>
            <a:endParaRPr lang="es-CO" sz="200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D80E77D9-5101-4269-B608-484B42BDD493}"/>
              </a:ext>
            </a:extLst>
          </p:cNvPr>
          <p:cNvSpPr/>
          <p:nvPr/>
        </p:nvSpPr>
        <p:spPr>
          <a:xfrm>
            <a:off x="2129993" y="2606851"/>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a:solidFill>
                  <a:schemeClr val="bg1"/>
                </a:solidFill>
                <a:latin typeface="Arial" panose="020B0604020202020204" pitchFamily="34" charset="0"/>
                <a:cs typeface="Arial" panose="020B0604020202020204" pitchFamily="34" charset="0"/>
              </a:rPr>
              <a:t>1. Define </a:t>
            </a:r>
            <a:r>
              <a:rPr lang="es-CO" sz="1600" b="1" err="1">
                <a:solidFill>
                  <a:schemeClr val="bg1"/>
                </a:solidFill>
                <a:latin typeface="Arial" panose="020B0604020202020204" pitchFamily="34" charset="0"/>
                <a:cs typeface="Arial" panose="020B0604020202020204" pitchFamily="34" charset="0"/>
              </a:rPr>
              <a:t>an</a:t>
            </a:r>
            <a:r>
              <a:rPr lang="es-CO" sz="1600" b="1">
                <a:solidFill>
                  <a:schemeClr val="bg1"/>
                </a:solidFill>
                <a:latin typeface="Arial" panose="020B0604020202020204" pitchFamily="34" charset="0"/>
                <a:cs typeface="Arial" panose="020B0604020202020204" pitchFamily="34" charset="0"/>
              </a:rPr>
              <a:t> </a:t>
            </a:r>
            <a:r>
              <a:rPr lang="es-CO" sz="1600" b="1" err="1">
                <a:solidFill>
                  <a:schemeClr val="bg1"/>
                </a:solidFill>
                <a:latin typeface="Arial" panose="020B0604020202020204" pitchFamily="34" charset="0"/>
                <a:cs typeface="Arial" panose="020B0604020202020204" pitchFamily="34" charset="0"/>
              </a:rPr>
              <a:t>innovation</a:t>
            </a:r>
            <a:r>
              <a:rPr lang="es-CO" sz="1600" b="1">
                <a:solidFill>
                  <a:schemeClr val="bg1"/>
                </a:solidFill>
                <a:latin typeface="Arial" panose="020B0604020202020204" pitchFamily="34" charset="0"/>
                <a:cs typeface="Arial" panose="020B0604020202020204" pitchFamily="34" charset="0"/>
              </a:rPr>
              <a:t> </a:t>
            </a:r>
            <a:r>
              <a:rPr lang="es-CO" sz="1600" b="1" err="1">
                <a:solidFill>
                  <a:schemeClr val="bg1"/>
                </a:solidFill>
                <a:latin typeface="Arial" panose="020B0604020202020204" pitchFamily="34" charset="0"/>
                <a:cs typeface="Arial" panose="020B0604020202020204" pitchFamily="34" charset="0"/>
              </a:rPr>
              <a:t>effort</a:t>
            </a:r>
            <a:endParaRPr lang="es-CO" sz="1600" b="1">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AB19E19C-2922-43AB-89CE-78C45A668D9E}"/>
              </a:ext>
            </a:extLst>
          </p:cNvPr>
          <p:cNvSpPr/>
          <p:nvPr/>
        </p:nvSpPr>
        <p:spPr>
          <a:xfrm>
            <a:off x="6076351" y="2606850"/>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a:solidFill>
                  <a:schemeClr val="bg1"/>
                </a:solidFill>
                <a:latin typeface="Arial" panose="020B0604020202020204" pitchFamily="34" charset="0"/>
                <a:cs typeface="Arial" panose="020B0604020202020204" pitchFamily="34" charset="0"/>
              </a:rPr>
              <a:t>2. Define the question and its variables</a:t>
            </a:r>
            <a:endParaRPr lang="es-CO" sz="1600" b="1">
              <a:solidFill>
                <a:schemeClr val="bg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2B64886-DA5D-42C1-9415-ACB599CD0573}"/>
              </a:ext>
            </a:extLst>
          </p:cNvPr>
          <p:cNvSpPr/>
          <p:nvPr/>
        </p:nvSpPr>
        <p:spPr>
          <a:xfrm>
            <a:off x="2129993" y="3576498"/>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3. </a:t>
            </a:r>
            <a:r>
              <a:rPr lang="es-CO" sz="1600" b="1" dirty="0" err="1">
                <a:solidFill>
                  <a:schemeClr val="bg1"/>
                </a:solidFill>
                <a:latin typeface="Arial" panose="020B0604020202020204" pitchFamily="34" charset="0"/>
                <a:cs typeface="Arial" panose="020B0604020202020204" pitchFamily="34" charset="0"/>
              </a:rPr>
              <a:t>Choose</a:t>
            </a:r>
            <a:r>
              <a:rPr lang="es-CO" sz="1600" b="1" dirty="0">
                <a:solidFill>
                  <a:schemeClr val="bg1"/>
                </a:solidFill>
                <a:latin typeface="Arial" panose="020B0604020202020204" pitchFamily="34" charset="0"/>
                <a:cs typeface="Arial" panose="020B0604020202020204" pitchFamily="34" charset="0"/>
              </a:rPr>
              <a:t> </a:t>
            </a:r>
            <a:r>
              <a:rPr lang="es-CO" sz="1600" b="1" dirty="0" err="1">
                <a:solidFill>
                  <a:schemeClr val="bg1"/>
                </a:solidFill>
                <a:latin typeface="Arial" panose="020B0604020202020204" pitchFamily="34" charset="0"/>
                <a:cs typeface="Arial" panose="020B0604020202020204" pitchFamily="34" charset="0"/>
              </a:rPr>
              <a:t>your</a:t>
            </a:r>
            <a:r>
              <a:rPr lang="es-CO" sz="1600" b="1" dirty="0">
                <a:solidFill>
                  <a:schemeClr val="bg1"/>
                </a:solidFill>
                <a:latin typeface="Arial" panose="020B0604020202020204" pitchFamily="34" charset="0"/>
                <a:cs typeface="Arial" panose="020B0604020202020204" pitchFamily="34" charset="0"/>
              </a:rPr>
              <a:t> </a:t>
            </a:r>
            <a:r>
              <a:rPr lang="es-CO" sz="1600" b="1" dirty="0" err="1">
                <a:solidFill>
                  <a:schemeClr val="bg1"/>
                </a:solidFill>
                <a:latin typeface="Arial" panose="020B0604020202020204" pitchFamily="34" charset="0"/>
                <a:cs typeface="Arial" panose="020B0604020202020204" pitchFamily="34" charset="0"/>
              </a:rPr>
              <a:t>population</a:t>
            </a:r>
            <a:endParaRPr lang="es-CO" sz="1600" b="1" dirty="0">
              <a:solidFill>
                <a:schemeClr val="bg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3AA193E2-F8B9-40C9-9545-6168D11308EE}"/>
              </a:ext>
            </a:extLst>
          </p:cNvPr>
          <p:cNvSpPr/>
          <p:nvPr/>
        </p:nvSpPr>
        <p:spPr>
          <a:xfrm>
            <a:off x="6076351" y="3576497"/>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a:solidFill>
                  <a:schemeClr val="bg1"/>
                </a:solidFill>
                <a:latin typeface="Arial" panose="020B0604020202020204" pitchFamily="34" charset="0"/>
                <a:cs typeface="Arial" panose="020B0604020202020204" pitchFamily="34" charset="0"/>
              </a:rPr>
              <a:t>4. Test and </a:t>
            </a:r>
            <a:r>
              <a:rPr lang="es-CO" sz="1600" b="1" err="1">
                <a:solidFill>
                  <a:schemeClr val="bg1"/>
                </a:solidFill>
                <a:latin typeface="Arial" panose="020B0604020202020204" pitchFamily="34" charset="0"/>
                <a:cs typeface="Arial" panose="020B0604020202020204" pitchFamily="34" charset="0"/>
              </a:rPr>
              <a:t>analyze</a:t>
            </a:r>
            <a:endParaRPr lang="es-CO" sz="1600" b="1">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91EEF143-E558-401F-9B5D-6901B44B8C69}"/>
              </a:ext>
            </a:extLst>
          </p:cNvPr>
          <p:cNvSpPr txBox="1"/>
          <p:nvPr/>
        </p:nvSpPr>
        <p:spPr>
          <a:xfrm>
            <a:off x="654119" y="849648"/>
            <a:ext cx="10844464" cy="923330"/>
          </a:xfrm>
          <a:prstGeom prst="rect">
            <a:avLst/>
          </a:prstGeom>
          <a:noFill/>
        </p:spPr>
        <p:txBody>
          <a:bodyPr wrap="square">
            <a:spAutoFit/>
          </a:bodyPr>
          <a:lstStyle/>
          <a:p>
            <a:r>
              <a:rPr lang="en-US">
                <a:solidFill>
                  <a:schemeClr val="bg1"/>
                </a:solidFill>
                <a:latin typeface="Arial" panose="020B0604020202020204" pitchFamily="34" charset="0"/>
                <a:cs typeface="Arial" panose="020B0604020202020204" pitchFamily="34" charset="0"/>
              </a:rPr>
              <a:t>This experimental method is especially useful for innovating on existing products, services and processes; to optimize and continuously improve them; and to compare versions in the later phases of an innovation process.</a:t>
            </a:r>
            <a:endParaRPr lang="es-CO">
              <a:solidFill>
                <a:schemeClr val="bg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77A9C023-669C-46CD-B5E9-2D01992016F7}"/>
              </a:ext>
            </a:extLst>
          </p:cNvPr>
          <p:cNvSpPr/>
          <p:nvPr/>
        </p:nvSpPr>
        <p:spPr>
          <a:xfrm>
            <a:off x="4071086" y="4546144"/>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a:solidFill>
                  <a:schemeClr val="bg1"/>
                </a:solidFill>
                <a:latin typeface="Arial" panose="020B0604020202020204" pitchFamily="34" charset="0"/>
                <a:cs typeface="Arial" panose="020B0604020202020204" pitchFamily="34" charset="0"/>
              </a:rPr>
              <a:t>5. Decide</a:t>
            </a:r>
          </a:p>
        </p:txBody>
      </p:sp>
    </p:spTree>
    <p:extLst>
      <p:ext uri="{BB962C8B-B14F-4D97-AF65-F5344CB8AC3E}">
        <p14:creationId xmlns:p14="http://schemas.microsoft.com/office/powerpoint/2010/main" val="17049062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Ver las imágenes de origen">
            <a:extLst>
              <a:ext uri="{FF2B5EF4-FFF2-40B4-BE49-F238E27FC236}">
                <a16:creationId xmlns:a16="http://schemas.microsoft.com/office/drawing/2014/main" id="{06A482B7-E6CD-41B3-B2D4-F3755A7DBD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4119" y="3075807"/>
            <a:ext cx="4062260" cy="35810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a:solidFill>
                  <a:schemeClr val="bg1"/>
                </a:solidFill>
                <a:latin typeface="Arial" panose="020B0604020202020204" pitchFamily="34" charset="0"/>
                <a:cs typeface="Arial" panose="020B0604020202020204" pitchFamily="34" charset="0"/>
              </a:rPr>
              <a:t>Tool: </a:t>
            </a:r>
            <a:r>
              <a:rPr lang="es-CO" sz="2000" b="1" err="1">
                <a:solidFill>
                  <a:schemeClr val="bg1"/>
                </a:solidFill>
                <a:latin typeface="Arial" panose="020B0604020202020204" pitchFamily="34" charset="0"/>
                <a:cs typeface="Arial" panose="020B0604020202020204" pitchFamily="34" charset="0"/>
              </a:rPr>
              <a:t>convergent</a:t>
            </a:r>
            <a:r>
              <a:rPr lang="es-CO" sz="2000" b="1">
                <a:solidFill>
                  <a:schemeClr val="bg1"/>
                </a:solidFill>
                <a:latin typeface="Arial" panose="020B0604020202020204" pitchFamily="34" charset="0"/>
                <a:cs typeface="Arial" panose="020B0604020202020204" pitchFamily="34" charset="0"/>
              </a:rPr>
              <a:t> experimental </a:t>
            </a:r>
            <a:r>
              <a:rPr lang="es-CO" sz="2000" b="1" err="1">
                <a:solidFill>
                  <a:schemeClr val="bg1"/>
                </a:solidFill>
                <a:latin typeface="Arial" panose="020B0604020202020204" pitchFamily="34" charset="0"/>
                <a:cs typeface="Arial" panose="020B0604020202020204" pitchFamily="34" charset="0"/>
              </a:rPr>
              <a:t>method</a:t>
            </a:r>
            <a:endParaRPr lang="es-CO" sz="200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91ED6617-3ABA-4373-BEBF-8246874EC35C}"/>
              </a:ext>
            </a:extLst>
          </p:cNvPr>
          <p:cNvSpPr txBox="1"/>
          <p:nvPr/>
        </p:nvSpPr>
        <p:spPr>
          <a:xfrm>
            <a:off x="654119" y="2031046"/>
            <a:ext cx="11148414" cy="830997"/>
          </a:xfrm>
          <a:prstGeom prst="rect">
            <a:avLst/>
          </a:prstGeom>
          <a:noFill/>
        </p:spPr>
        <p:txBody>
          <a:bodyPr wrap="square">
            <a:spAutoFit/>
          </a:bodyPr>
          <a:lstStyle/>
          <a:p>
            <a:r>
              <a:rPr lang="en-US" sz="1600">
                <a:solidFill>
                  <a:schemeClr val="bg1"/>
                </a:solidFill>
                <a:latin typeface="Arial" panose="020B0604020202020204" pitchFamily="34" charset="0"/>
                <a:cs typeface="Arial" panose="020B0604020202020204" pitchFamily="34" charset="0"/>
              </a:rPr>
              <a:t>Propose a change you want to introduce to your product, service or experience 
</a:t>
            </a:r>
            <a:endParaRPr lang="es-CO" sz="1600">
              <a:solidFill>
                <a:schemeClr val="bg1"/>
              </a:solidFill>
              <a:latin typeface="Arial" panose="020B0604020202020204" pitchFamily="34" charset="0"/>
              <a:cs typeface="Arial" panose="020B0604020202020204" pitchFamily="34" charset="0"/>
            </a:endParaRPr>
          </a:p>
          <a:p>
            <a:r>
              <a:rPr lang="es-CO" sz="1600" b="1" u="sng" err="1">
                <a:solidFill>
                  <a:schemeClr val="bg1"/>
                </a:solidFill>
                <a:latin typeface="Arial" panose="020B0604020202020204" pitchFamily="34" charset="0"/>
                <a:cs typeface="Arial" panose="020B0604020202020204" pitchFamily="34" charset="0"/>
              </a:rPr>
              <a:t>Examples</a:t>
            </a:r>
            <a:r>
              <a:rPr lang="es-CO" sz="1600" b="1" u="sng">
                <a:solidFill>
                  <a:schemeClr val="bg1"/>
                </a:solidFill>
                <a:latin typeface="Arial" panose="020B0604020202020204" pitchFamily="34" charset="0"/>
                <a:cs typeface="Arial" panose="020B0604020202020204" pitchFamily="34" charset="0"/>
              </a:rPr>
              <a:t>: </a:t>
            </a:r>
            <a:endParaRPr lang="es-CO" sz="1600">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74B3DBF6-7C47-46BB-923B-DE7F2196C60D}"/>
              </a:ext>
            </a:extLst>
          </p:cNvPr>
          <p:cNvSpPr txBox="1"/>
          <p:nvPr/>
        </p:nvSpPr>
        <p:spPr>
          <a:xfrm>
            <a:off x="2066110" y="4059232"/>
            <a:ext cx="2338939" cy="2223686"/>
          </a:xfrm>
          <a:prstGeom prst="rect">
            <a:avLst/>
          </a:prstGeom>
          <a:solidFill>
            <a:srgbClr val="EBF0F3"/>
          </a:solidFill>
        </p:spPr>
        <p:txBody>
          <a:bodyPr wrap="square">
            <a:spAutoFit/>
          </a:bodyPr>
          <a:lstStyle/>
          <a:p>
            <a:pPr marL="285750" indent="-285750">
              <a:spcBef>
                <a:spcPts val="500"/>
              </a:spcBef>
              <a:buFont typeface="Arial" panose="020B0604020202020204" pitchFamily="34" charset="0"/>
              <a:buChar char="•"/>
            </a:pPr>
            <a:r>
              <a:rPr lang="en-US" sz="1400">
                <a:solidFill>
                  <a:schemeClr val="bg2"/>
                </a:solidFill>
                <a:latin typeface="Arial" panose="020B0604020202020204" pitchFamily="34" charset="0"/>
                <a:cs typeface="Arial" panose="020B0604020202020204" pitchFamily="34" charset="0"/>
              </a:rPr>
              <a:t>Size and number of product photos
Location of the "Frequently Asked Questions" section
Shopping cart location
Product or service recommendations before you pay</a:t>
            </a:r>
            <a:endParaRPr lang="es-CO" sz="1600">
              <a:solidFill>
                <a:schemeClr val="bg2"/>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A89F78CA-912F-482C-BF87-C19EF93A26BC}"/>
              </a:ext>
            </a:extLst>
          </p:cNvPr>
          <p:cNvSpPr/>
          <p:nvPr/>
        </p:nvSpPr>
        <p:spPr>
          <a:xfrm>
            <a:off x="2396293" y="3327400"/>
            <a:ext cx="2223834" cy="241300"/>
          </a:xfrm>
          <a:prstGeom prst="roundRect">
            <a:avLst>
              <a:gd name="adj" fmla="val 39881"/>
            </a:avLst>
          </a:prstGeom>
          <a:solidFill>
            <a:srgbClr val="EBF0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a:solidFill>
                <a:schemeClr val="tx1"/>
              </a:solidFill>
            </a:endParaRPr>
          </a:p>
        </p:txBody>
      </p:sp>
      <p:sp>
        <p:nvSpPr>
          <p:cNvPr id="17" name="TextBox 16">
            <a:extLst>
              <a:ext uri="{FF2B5EF4-FFF2-40B4-BE49-F238E27FC236}">
                <a16:creationId xmlns:a16="http://schemas.microsoft.com/office/drawing/2014/main" id="{C5F95D62-9EB9-4C01-AA92-4F34FF534393}"/>
              </a:ext>
            </a:extLst>
          </p:cNvPr>
          <p:cNvSpPr txBox="1"/>
          <p:nvPr/>
        </p:nvSpPr>
        <p:spPr>
          <a:xfrm>
            <a:off x="2363516" y="3294161"/>
            <a:ext cx="2256611" cy="523220"/>
          </a:xfrm>
          <a:prstGeom prst="rect">
            <a:avLst/>
          </a:prstGeom>
          <a:noFill/>
        </p:spPr>
        <p:txBody>
          <a:bodyPr wrap="square">
            <a:spAutoFit/>
          </a:bodyPr>
          <a:lstStyle/>
          <a:p>
            <a:r>
              <a:rPr lang="es-CO" sz="1400" b="1" err="1">
                <a:solidFill>
                  <a:schemeClr val="bg2"/>
                </a:solidFill>
                <a:latin typeface="Arial" panose="020B0604020202020204" pitchFamily="34" charset="0"/>
                <a:cs typeface="Arial" panose="020B0604020202020204" pitchFamily="34" charset="0"/>
              </a:rPr>
              <a:t>Website</a:t>
            </a:r>
            <a:r>
              <a:rPr lang="es-CO" sz="1400" b="1">
                <a:solidFill>
                  <a:schemeClr val="bg2"/>
                </a:solidFill>
                <a:latin typeface="Arial" panose="020B0604020202020204" pitchFamily="34" charset="0"/>
                <a:cs typeface="Arial" panose="020B0604020202020204" pitchFamily="34" charset="0"/>
              </a:rPr>
              <a:t> </a:t>
            </a:r>
            <a:r>
              <a:rPr lang="es-CO" sz="1400" b="1" err="1">
                <a:solidFill>
                  <a:schemeClr val="bg2"/>
                </a:solidFill>
                <a:latin typeface="Arial" panose="020B0604020202020204" pitchFamily="34" charset="0"/>
                <a:cs typeface="Arial" panose="020B0604020202020204" pitchFamily="34" charset="0"/>
              </a:rPr>
              <a:t>redesign</a:t>
            </a:r>
            <a:r>
              <a:rPr lang="es-CO" sz="1400" b="1">
                <a:solidFill>
                  <a:schemeClr val="bg2"/>
                </a:solidFill>
                <a:latin typeface="Arial" panose="020B0604020202020204" pitchFamily="34" charset="0"/>
                <a:cs typeface="Arial" panose="020B0604020202020204" pitchFamily="34" charset="0"/>
              </a:rPr>
              <a:t> 
</a:t>
            </a:r>
          </a:p>
        </p:txBody>
      </p:sp>
      <p:sp>
        <p:nvSpPr>
          <p:cNvPr id="18" name="TextBox 17">
            <a:extLst>
              <a:ext uri="{FF2B5EF4-FFF2-40B4-BE49-F238E27FC236}">
                <a16:creationId xmlns:a16="http://schemas.microsoft.com/office/drawing/2014/main" id="{99AAD9F0-114B-45A3-9537-8D6C6CD9F0E6}"/>
              </a:ext>
            </a:extLst>
          </p:cNvPr>
          <p:cNvSpPr txBox="1"/>
          <p:nvPr/>
        </p:nvSpPr>
        <p:spPr>
          <a:xfrm>
            <a:off x="5220510" y="3081414"/>
            <a:ext cx="2410530" cy="523220"/>
          </a:xfrm>
          <a:prstGeom prst="rect">
            <a:avLst/>
          </a:prstGeom>
          <a:noFill/>
        </p:spPr>
        <p:txBody>
          <a:bodyPr wrap="square">
            <a:spAutoFit/>
          </a:bodyPr>
          <a:lstStyle/>
          <a:p>
            <a:pPr algn="ctr"/>
            <a:r>
              <a:rPr lang="en-US" sz="1400" b="1">
                <a:solidFill>
                  <a:schemeClr val="bg1"/>
                </a:solidFill>
                <a:latin typeface="Arial" panose="020B0604020202020204" pitchFamily="34" charset="0"/>
                <a:cs typeface="Arial" panose="020B0604020202020204" pitchFamily="34" charset="0"/>
              </a:rPr>
              <a:t>Variation of a product or service</a:t>
            </a:r>
            <a:endParaRPr lang="es-CO" sz="1400" b="1">
              <a:solidFill>
                <a:schemeClr val="bg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A29FCCBD-FF7B-4D38-BF7D-AE32D21EE252}"/>
              </a:ext>
            </a:extLst>
          </p:cNvPr>
          <p:cNvSpPr txBox="1"/>
          <p:nvPr/>
        </p:nvSpPr>
        <p:spPr>
          <a:xfrm>
            <a:off x="5190289" y="4554240"/>
            <a:ext cx="2655924" cy="1728678"/>
          </a:xfrm>
          <a:prstGeom prst="rect">
            <a:avLst/>
          </a:prstGeom>
          <a:noFill/>
        </p:spPr>
        <p:txBody>
          <a:bodyPr wrap="square">
            <a:spAutoFit/>
          </a:bodyPr>
          <a:lstStyle/>
          <a:p>
            <a:pPr marL="285750" indent="-285750">
              <a:spcBef>
                <a:spcPts val="500"/>
              </a:spcBef>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New ice cream flavor (Caramel salted /</a:t>
            </a:r>
            <a:r>
              <a:rPr lang="en-US" sz="1400" dirty="0" err="1">
                <a:solidFill>
                  <a:schemeClr val="bg1"/>
                </a:solidFill>
                <a:latin typeface="Arial" panose="020B0604020202020204" pitchFamily="34" charset="0"/>
                <a:cs typeface="Arial" panose="020B0604020202020204" pitchFamily="34" charset="0"/>
              </a:rPr>
              <a:t>caramel-cookies&amp;cream</a:t>
            </a:r>
            <a:r>
              <a:rPr lang="en-US" sz="1400" dirty="0">
                <a:solidFill>
                  <a:schemeClr val="bg1"/>
                </a:solidFill>
                <a:latin typeface="Arial" panose="020B0604020202020204" pitchFamily="34" charset="0"/>
                <a:cs typeface="Arial" panose="020B0604020202020204" pitchFamily="34" charset="0"/>
              </a:rPr>
              <a:t> / caramel chocolate)
New size
New container (cone, glass, cookie)</a:t>
            </a:r>
            <a:endParaRPr lang="es-CO" sz="1600" dirty="0">
              <a:solidFill>
                <a:schemeClr val="bg1"/>
              </a:solidFill>
              <a:latin typeface="Arial" panose="020B0604020202020204" pitchFamily="34" charset="0"/>
              <a:cs typeface="Arial" panose="020B0604020202020204" pitchFamily="34" charset="0"/>
            </a:endParaRPr>
          </a:p>
        </p:txBody>
      </p:sp>
      <p:pic>
        <p:nvPicPr>
          <p:cNvPr id="7174" name="Picture 6" descr="Ver las imágenes de origen">
            <a:extLst>
              <a:ext uri="{FF2B5EF4-FFF2-40B4-BE49-F238E27FC236}">
                <a16:creationId xmlns:a16="http://schemas.microsoft.com/office/drawing/2014/main" id="{0AB49698-9015-49D0-955D-A25DBF1773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8107" y="3675370"/>
            <a:ext cx="795337" cy="795337"/>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597FF9D1-F615-46B8-82C4-43A456BE5991}"/>
              </a:ext>
            </a:extLst>
          </p:cNvPr>
          <p:cNvSpPr txBox="1"/>
          <p:nvPr/>
        </p:nvSpPr>
        <p:spPr>
          <a:xfrm>
            <a:off x="4518261" y="971402"/>
            <a:ext cx="6802882" cy="1077218"/>
          </a:xfrm>
          <a:prstGeom prst="rect">
            <a:avLst/>
          </a:prstGeom>
          <a:noFill/>
        </p:spPr>
        <p:txBody>
          <a:bodyPr wrap="square">
            <a:spAutoFit/>
          </a:bodyPr>
          <a:lstStyle/>
          <a:p>
            <a:r>
              <a:rPr lang="en-US" sz="1600">
                <a:solidFill>
                  <a:schemeClr val="bg1"/>
                </a:solidFill>
                <a:latin typeface="Arial" panose="020B0604020202020204" pitchFamily="34" charset="0"/>
                <a:cs typeface="Arial" panose="020B0604020202020204" pitchFamily="34" charset="0"/>
              </a:rPr>
              <a:t>Considering what you have learned in the course about your own business (business model, value proposition, operational model, customer experience)...
</a:t>
            </a:r>
            <a:endParaRPr lang="es-CO" sz="1600">
              <a:solidFill>
                <a:schemeClr val="bg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a:solidFill>
                  <a:schemeClr val="bg1"/>
                </a:solidFill>
                <a:latin typeface="Arial" panose="020B0604020202020204" pitchFamily="34" charset="0"/>
                <a:cs typeface="Arial" panose="020B0604020202020204" pitchFamily="34" charset="0"/>
              </a:rPr>
              <a:t>1. Define </a:t>
            </a:r>
            <a:r>
              <a:rPr lang="es-CO" sz="1600" b="1" err="1">
                <a:solidFill>
                  <a:schemeClr val="bg1"/>
                </a:solidFill>
                <a:latin typeface="Arial" panose="020B0604020202020204" pitchFamily="34" charset="0"/>
                <a:cs typeface="Arial" panose="020B0604020202020204" pitchFamily="34" charset="0"/>
              </a:rPr>
              <a:t>an</a:t>
            </a:r>
            <a:r>
              <a:rPr lang="es-CO" sz="1600" b="1">
                <a:solidFill>
                  <a:schemeClr val="bg1"/>
                </a:solidFill>
                <a:latin typeface="Arial" panose="020B0604020202020204" pitchFamily="34" charset="0"/>
                <a:cs typeface="Arial" panose="020B0604020202020204" pitchFamily="34" charset="0"/>
              </a:rPr>
              <a:t> </a:t>
            </a:r>
            <a:r>
              <a:rPr lang="es-CO" sz="1600" b="1" err="1">
                <a:solidFill>
                  <a:schemeClr val="bg1"/>
                </a:solidFill>
                <a:latin typeface="Arial" panose="020B0604020202020204" pitchFamily="34" charset="0"/>
                <a:cs typeface="Arial" panose="020B0604020202020204" pitchFamily="34" charset="0"/>
              </a:rPr>
              <a:t>innovation</a:t>
            </a:r>
            <a:r>
              <a:rPr lang="es-CO" sz="1600" b="1">
                <a:solidFill>
                  <a:schemeClr val="bg1"/>
                </a:solidFill>
                <a:latin typeface="Arial" panose="020B0604020202020204" pitchFamily="34" charset="0"/>
                <a:cs typeface="Arial" panose="020B0604020202020204" pitchFamily="34" charset="0"/>
              </a:rPr>
              <a:t> </a:t>
            </a:r>
            <a:r>
              <a:rPr lang="es-CO" sz="1600" b="1" err="1">
                <a:solidFill>
                  <a:schemeClr val="bg1"/>
                </a:solidFill>
                <a:latin typeface="Arial" panose="020B0604020202020204" pitchFamily="34" charset="0"/>
                <a:cs typeface="Arial" panose="020B0604020202020204" pitchFamily="34" charset="0"/>
              </a:rPr>
              <a:t>effort</a:t>
            </a:r>
            <a:endParaRPr lang="es-CO" sz="1600" b="1">
              <a:solidFill>
                <a:schemeClr val="bg1"/>
              </a:solidFill>
              <a:latin typeface="Arial" panose="020B0604020202020204" pitchFamily="34" charset="0"/>
              <a:cs typeface="Arial" panose="020B0604020202020204" pitchFamily="34" charset="0"/>
            </a:endParaRPr>
          </a:p>
        </p:txBody>
      </p:sp>
      <p:sp>
        <p:nvSpPr>
          <p:cNvPr id="14" name="Rectangle: Folded Corner 13">
            <a:extLst>
              <a:ext uri="{FF2B5EF4-FFF2-40B4-BE49-F238E27FC236}">
                <a16:creationId xmlns:a16="http://schemas.microsoft.com/office/drawing/2014/main" id="{DA22D66B-22A9-4DDD-9DB6-E222F1BAD06F}"/>
              </a:ext>
            </a:extLst>
          </p:cNvPr>
          <p:cNvSpPr/>
          <p:nvPr/>
        </p:nvSpPr>
        <p:spPr>
          <a:xfrm>
            <a:off x="8320124" y="2175554"/>
            <a:ext cx="3355321" cy="2880048"/>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indent="-228600">
              <a:buAutoNum type="arabicPeriod"/>
            </a:pPr>
            <a:endParaRPr lang="es-CO" sz="1200" dirty="0">
              <a:solidFill>
                <a:schemeClr val="tx1"/>
              </a:solidFill>
              <a:latin typeface="Arial" panose="020B0604020202020204" pitchFamily="34" charset="0"/>
              <a:cs typeface="Arial" panose="020B0604020202020204" pitchFamily="34" charset="0"/>
            </a:endParaRPr>
          </a:p>
          <a:p>
            <a:pPr marL="228600" indent="-228600">
              <a:buAutoNum type="arabicPeriod"/>
            </a:pPr>
            <a:r>
              <a:rPr lang="en-US" sz="1200" dirty="0">
                <a:solidFill>
                  <a:schemeClr val="tx1"/>
                </a:solidFill>
                <a:latin typeface="Arial" panose="020B0604020202020204" pitchFamily="34" charset="0"/>
                <a:cs typeface="Arial" panose="020B0604020202020204" pitchFamily="34" charset="0"/>
              </a:rPr>
              <a:t>Describe a change you want to introduce to your product, service or experience - this will be your </a:t>
            </a:r>
            <a:r>
              <a:rPr lang="en-US" sz="1200" b="1" dirty="0">
                <a:solidFill>
                  <a:schemeClr val="tx1"/>
                </a:solidFill>
                <a:latin typeface="Arial" panose="020B0604020202020204" pitchFamily="34" charset="0"/>
                <a:cs typeface="Arial" panose="020B0604020202020204" pitchFamily="34" charset="0"/>
              </a:rPr>
              <a:t>innovation</a:t>
            </a:r>
            <a:r>
              <a:rPr lang="en-US" sz="1200" dirty="0">
                <a:solidFill>
                  <a:schemeClr val="tx1"/>
                </a:solidFill>
                <a:latin typeface="Arial" panose="020B0604020202020204" pitchFamily="34" charset="0"/>
                <a:cs typeface="Arial" panose="020B0604020202020204" pitchFamily="34" charset="0"/>
              </a:rPr>
              <a:t>.</a:t>
            </a:r>
          </a:p>
          <a:p>
            <a:pPr marL="228600" indent="-228600">
              <a:buAutoNum type="arabicPeriod"/>
            </a:pPr>
            <a:endParaRPr lang="en-US" sz="1200" dirty="0">
              <a:solidFill>
                <a:schemeClr val="tx1"/>
              </a:solidFill>
              <a:latin typeface="Arial" panose="020B0604020202020204" pitchFamily="34" charset="0"/>
              <a:cs typeface="Arial" panose="020B0604020202020204" pitchFamily="34" charset="0"/>
            </a:endParaRPr>
          </a:p>
          <a:p>
            <a:pPr marL="228600" indent="-228600">
              <a:buAutoNum type="arabicPeriod"/>
            </a:pPr>
            <a:r>
              <a:rPr lang="en-US" sz="1200" dirty="0">
                <a:solidFill>
                  <a:schemeClr val="tx1"/>
                </a:solidFill>
                <a:latin typeface="Arial" panose="020B0604020202020204" pitchFamily="34" charset="0"/>
                <a:cs typeface="Arial" panose="020B0604020202020204" pitchFamily="34" charset="0"/>
              </a:rPr>
              <a:t>Mention which tool learnt in the course helped you to identify your chosen innovation.</a:t>
            </a:r>
          </a:p>
          <a:p>
            <a:pPr marL="228600" indent="-228600">
              <a:buAutoNum type="arabicPeriod"/>
            </a:pPr>
            <a:endParaRPr lang="en-US"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For example: My innovation is to enable purchases through </a:t>
            </a:r>
            <a:r>
              <a:rPr lang="en-US" sz="1200" dirty="0" err="1">
                <a:solidFill>
                  <a:schemeClr val="tx1"/>
                </a:solidFill>
                <a:latin typeface="Arial" panose="020B0604020202020204" pitchFamily="34" charset="0"/>
                <a:cs typeface="Arial" panose="020B0604020202020204" pitchFamily="34" charset="0"/>
              </a:rPr>
              <a:t>whatsapp</a:t>
            </a:r>
            <a:r>
              <a:rPr lang="en-US" sz="1200" dirty="0">
                <a:solidFill>
                  <a:schemeClr val="tx1"/>
                </a:solidFill>
                <a:latin typeface="Arial" panose="020B0604020202020204" pitchFamily="34" charset="0"/>
                <a:cs typeface="Arial" panose="020B0604020202020204" pitchFamily="34" charset="0"/>
              </a:rPr>
              <a:t> because I </a:t>
            </a:r>
            <a:r>
              <a:rPr lang="en-US" sz="1200" dirty="0" err="1">
                <a:solidFill>
                  <a:schemeClr val="tx1"/>
                </a:solidFill>
                <a:latin typeface="Arial" panose="020B0604020202020204" pitchFamily="34" charset="0"/>
                <a:cs typeface="Arial" panose="020B0604020202020204" pitchFamily="34" charset="0"/>
              </a:rPr>
              <a:t>realised</a:t>
            </a:r>
            <a:r>
              <a:rPr lang="en-US" sz="1200" dirty="0">
                <a:solidFill>
                  <a:schemeClr val="tx1"/>
                </a:solidFill>
                <a:latin typeface="Arial" panose="020B0604020202020204" pitchFamily="34" charset="0"/>
                <a:cs typeface="Arial" panose="020B0604020202020204" pitchFamily="34" charset="0"/>
              </a:rPr>
              <a:t> through the operational model that it is easier for my employees to make sales through this channel....</a:t>
            </a:r>
          </a:p>
        </p:txBody>
      </p:sp>
      <p:sp>
        <p:nvSpPr>
          <p:cNvPr id="15" name="TextBox 14">
            <a:extLst>
              <a:ext uri="{FF2B5EF4-FFF2-40B4-BE49-F238E27FC236}">
                <a16:creationId xmlns:a16="http://schemas.microsoft.com/office/drawing/2014/main" id="{B4C764D3-4A86-4FEF-B6E5-11AEF09EBC93}"/>
              </a:ext>
            </a:extLst>
          </p:cNvPr>
          <p:cNvSpPr txBox="1"/>
          <p:nvPr/>
        </p:nvSpPr>
        <p:spPr>
          <a:xfrm>
            <a:off x="8856133" y="5264961"/>
            <a:ext cx="2819312" cy="830997"/>
          </a:xfrm>
          <a:prstGeom prst="rect">
            <a:avLst/>
          </a:prstGeom>
          <a:noFill/>
        </p:spPr>
        <p:txBody>
          <a:bodyPr wrap="square">
            <a:spAutoFit/>
          </a:bodyPr>
          <a:lstStyle/>
          <a:p>
            <a:pPr>
              <a:spcBef>
                <a:spcPts val="500"/>
              </a:spcBef>
            </a:pPr>
            <a:r>
              <a:rPr lang="en-US" sz="1200" dirty="0">
                <a:solidFill>
                  <a:schemeClr val="bg1"/>
                </a:solidFill>
                <a:latin typeface="Arial" panose="020B0604020202020204" pitchFamily="34" charset="0"/>
                <a:cs typeface="Arial" panose="020B0604020202020204" pitchFamily="34" charset="0"/>
              </a:rPr>
              <a:t>Remember that this is a propositional exercise, an innovation must be something new, NOT something you have already implemented and tested.</a:t>
            </a:r>
          </a:p>
        </p:txBody>
      </p:sp>
      <p:pic>
        <p:nvPicPr>
          <p:cNvPr id="20" name="Graphic 19" descr="Information with solid fill">
            <a:extLst>
              <a:ext uri="{FF2B5EF4-FFF2-40B4-BE49-F238E27FC236}">
                <a16:creationId xmlns:a16="http://schemas.microsoft.com/office/drawing/2014/main" id="{72FB4B61-EAC7-494C-9097-60894943F41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20124" y="5447288"/>
            <a:ext cx="466341" cy="466341"/>
          </a:xfrm>
          <a:prstGeom prst="rect">
            <a:avLst/>
          </a:prstGeom>
        </p:spPr>
      </p:pic>
    </p:spTree>
    <p:extLst>
      <p:ext uri="{BB962C8B-B14F-4D97-AF65-F5344CB8AC3E}">
        <p14:creationId xmlns:p14="http://schemas.microsoft.com/office/powerpoint/2010/main" val="4287312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n-US" sz="2000" b="1" dirty="0">
                <a:solidFill>
                  <a:schemeClr val="bg1"/>
                </a:solidFill>
                <a:latin typeface="Arial" panose="020B0604020202020204" pitchFamily="34" charset="0"/>
                <a:cs typeface="Arial" panose="020B0604020202020204" pitchFamily="34" charset="0"/>
              </a:rPr>
              <a:t>Tool: convergent experimental method</a:t>
            </a:r>
            <a:endParaRPr lang="en-US" sz="2000"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D80E77D9-5101-4269-B608-484B42BDD493}"/>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bg1"/>
                </a:solidFill>
                <a:latin typeface="Arial" panose="020B0604020202020204" pitchFamily="34" charset="0"/>
                <a:cs typeface="Arial" panose="020B0604020202020204" pitchFamily="34" charset="0"/>
              </a:rPr>
              <a:t>2. Define the question and its variables</a:t>
            </a:r>
          </a:p>
        </p:txBody>
      </p:sp>
      <p:sp>
        <p:nvSpPr>
          <p:cNvPr id="16" name="TextBox 15">
            <a:extLst>
              <a:ext uri="{FF2B5EF4-FFF2-40B4-BE49-F238E27FC236}">
                <a16:creationId xmlns:a16="http://schemas.microsoft.com/office/drawing/2014/main" id="{91ED6617-3ABA-4373-BEBF-8246874EC35C}"/>
              </a:ext>
            </a:extLst>
          </p:cNvPr>
          <p:cNvSpPr txBox="1"/>
          <p:nvPr/>
        </p:nvSpPr>
        <p:spPr>
          <a:xfrm>
            <a:off x="4572797" y="1036765"/>
            <a:ext cx="6965084" cy="4524315"/>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If we do </a:t>
            </a:r>
            <a:r>
              <a:rPr lang="en-US" sz="1600" b="1" dirty="0">
                <a:solidFill>
                  <a:srgbClr val="EA3A55"/>
                </a:solidFill>
                <a:latin typeface="Arial" panose="020B0604020202020204" pitchFamily="34" charset="0"/>
                <a:cs typeface="Arial" panose="020B0604020202020204" pitchFamily="34" charset="0"/>
              </a:rPr>
              <a:t>X</a:t>
            </a:r>
            <a:r>
              <a:rPr lang="en-US" sz="1600" dirty="0">
                <a:solidFill>
                  <a:schemeClr val="bg1"/>
                </a:solidFill>
                <a:latin typeface="Arial" panose="020B0604020202020204" pitchFamily="34" charset="0"/>
                <a:cs typeface="Arial" panose="020B0604020202020204" pitchFamily="34" charset="0"/>
              </a:rPr>
              <a:t> what will happen to</a:t>
            </a:r>
            <a:r>
              <a:rPr lang="en-US" sz="1600" b="1" dirty="0">
                <a:solidFill>
                  <a:srgbClr val="188CE5"/>
                </a:solidFill>
                <a:latin typeface="Arial" panose="020B0604020202020204" pitchFamily="34" charset="0"/>
                <a:cs typeface="Arial" panose="020B0604020202020204" pitchFamily="34" charset="0"/>
              </a:rPr>
              <a:t> Y</a:t>
            </a:r>
            <a:r>
              <a:rPr lang="en-US" sz="1600" dirty="0">
                <a:solidFill>
                  <a:schemeClr val="bg1"/>
                </a:solidFill>
                <a:latin typeface="Arial" panose="020B0604020202020204" pitchFamily="34" charset="0"/>
                <a:cs typeface="Arial" panose="020B0604020202020204" pitchFamily="34" charset="0"/>
              </a:rPr>
              <a:t>?
</a:t>
            </a:r>
            <a:endParaRPr lang="es-CO" sz="1600" dirty="0">
              <a:solidFill>
                <a:schemeClr val="bg1"/>
              </a:solidFill>
              <a:latin typeface="Arial" panose="020B0604020202020204" pitchFamily="34" charset="0"/>
              <a:cs typeface="Arial" panose="020B0604020202020204" pitchFamily="34" charset="0"/>
            </a:endParaRPr>
          </a:p>
          <a:p>
            <a:r>
              <a:rPr lang="es-CO" sz="1600" b="1" u="sng" dirty="0" err="1">
                <a:solidFill>
                  <a:schemeClr val="bg1"/>
                </a:solidFill>
                <a:latin typeface="Arial" panose="020B0604020202020204" pitchFamily="34" charset="0"/>
                <a:cs typeface="Arial" panose="020B0604020202020204" pitchFamily="34" charset="0"/>
              </a:rPr>
              <a:t>Examples</a:t>
            </a:r>
            <a:r>
              <a:rPr lang="es-CO" sz="1600" b="1" u="sng" dirty="0">
                <a:solidFill>
                  <a:schemeClr val="bg1"/>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How will our </a:t>
            </a:r>
            <a:r>
              <a:rPr lang="en-US" sz="1600" b="1" dirty="0">
                <a:solidFill>
                  <a:srgbClr val="EA3A55"/>
                </a:solidFill>
                <a:latin typeface="Arial" panose="020B0604020202020204" pitchFamily="34" charset="0"/>
                <a:cs typeface="Arial" panose="020B0604020202020204" pitchFamily="34" charset="0"/>
              </a:rPr>
              <a:t>new service offering</a:t>
            </a:r>
            <a:r>
              <a:rPr lang="en-US" sz="1600" dirty="0">
                <a:solidFill>
                  <a:schemeClr val="bg1"/>
                </a:solidFill>
                <a:latin typeface="Arial" panose="020B0604020202020204" pitchFamily="34" charset="0"/>
                <a:cs typeface="Arial" panose="020B0604020202020204" pitchFamily="34" charset="0"/>
              </a:rPr>
              <a:t> affect </a:t>
            </a:r>
            <a:r>
              <a:rPr lang="en-US" sz="1600" b="1" dirty="0">
                <a:solidFill>
                  <a:srgbClr val="188CE5"/>
                </a:solidFill>
                <a:latin typeface="Arial" panose="020B0604020202020204" pitchFamily="34" charset="0"/>
                <a:cs typeface="Arial" panose="020B0604020202020204" pitchFamily="34" charset="0"/>
              </a:rPr>
              <a:t>customer retention</a:t>
            </a:r>
            <a:r>
              <a:rPr lang="en-US" sz="1600" dirty="0">
                <a:solidFill>
                  <a:schemeClr val="bg1"/>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Which of these </a:t>
            </a:r>
            <a:r>
              <a:rPr lang="en-US" sz="1600" b="1" dirty="0">
                <a:solidFill>
                  <a:srgbClr val="EA3A55"/>
                </a:solidFill>
                <a:latin typeface="Arial" panose="020B0604020202020204" pitchFamily="34" charset="0"/>
                <a:cs typeface="Arial" panose="020B0604020202020204" pitchFamily="34" charset="0"/>
              </a:rPr>
              <a:t>two pricing tiers </a:t>
            </a:r>
            <a:r>
              <a:rPr lang="en-US" sz="1600" dirty="0">
                <a:solidFill>
                  <a:schemeClr val="bg1"/>
                </a:solidFill>
                <a:latin typeface="Arial" panose="020B0604020202020204" pitchFamily="34" charset="0"/>
                <a:cs typeface="Arial" panose="020B0604020202020204" pitchFamily="34" charset="0"/>
              </a:rPr>
              <a:t>will produce the </a:t>
            </a:r>
            <a:r>
              <a:rPr lang="en-US" sz="1600" b="1" dirty="0">
                <a:solidFill>
                  <a:srgbClr val="188CE5"/>
                </a:solidFill>
                <a:latin typeface="Arial" panose="020B0604020202020204" pitchFamily="34" charset="0"/>
                <a:cs typeface="Arial" panose="020B0604020202020204" pitchFamily="34" charset="0"/>
              </a:rPr>
              <a:t>highest total revenue </a:t>
            </a:r>
            <a:r>
              <a:rPr lang="en-US" sz="1600" dirty="0">
                <a:solidFill>
                  <a:schemeClr val="bg1"/>
                </a:solidFill>
                <a:latin typeface="Arial" panose="020B0604020202020204" pitchFamily="34" charset="0"/>
                <a:cs typeface="Arial" panose="020B0604020202020204" pitchFamily="34" charset="0"/>
              </a:rPr>
              <a:t>for our new product line? </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How will the </a:t>
            </a:r>
            <a:r>
              <a:rPr lang="en-US" sz="1600" b="1" dirty="0">
                <a:solidFill>
                  <a:srgbClr val="EA3A55"/>
                </a:solidFill>
                <a:latin typeface="Arial" panose="020B0604020202020204" pitchFamily="34" charset="0"/>
                <a:cs typeface="Arial" panose="020B0604020202020204" pitchFamily="34" charset="0"/>
              </a:rPr>
              <a:t>redesign of our customer service portal </a:t>
            </a:r>
            <a:r>
              <a:rPr lang="en-US" sz="1600" dirty="0">
                <a:solidFill>
                  <a:schemeClr val="bg1"/>
                </a:solidFill>
                <a:latin typeface="Arial" panose="020B0604020202020204" pitchFamily="34" charset="0"/>
                <a:cs typeface="Arial" panose="020B0604020202020204" pitchFamily="34" charset="0"/>
              </a:rPr>
              <a:t>affect </a:t>
            </a:r>
            <a:r>
              <a:rPr lang="en-US" sz="1600" b="1" dirty="0">
                <a:solidFill>
                  <a:srgbClr val="188CE5"/>
                </a:solidFill>
                <a:latin typeface="Arial" panose="020B0604020202020204" pitchFamily="34" charset="0"/>
                <a:cs typeface="Arial" panose="020B0604020202020204" pitchFamily="34" charset="0"/>
              </a:rPr>
              <a:t>customer satisfaction</a:t>
            </a:r>
            <a:r>
              <a:rPr lang="en-US" sz="1600" dirty="0">
                <a:solidFill>
                  <a:schemeClr val="bg1"/>
                </a:solidFill>
                <a:latin typeface="Arial" panose="020B0604020202020204" pitchFamily="34" charset="0"/>
                <a:cs typeface="Arial" panose="020B0604020202020204" pitchFamily="34" charset="0"/>
              </a:rPr>
              <a:t>?</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If I add this </a:t>
            </a:r>
            <a:r>
              <a:rPr lang="en-US" sz="1600" b="1" dirty="0">
                <a:solidFill>
                  <a:srgbClr val="EA3A55"/>
                </a:solidFill>
                <a:latin typeface="Arial" panose="020B0604020202020204" pitchFamily="34" charset="0"/>
                <a:cs typeface="Arial" panose="020B0604020202020204" pitchFamily="34" charset="0"/>
              </a:rPr>
              <a:t>feature</a:t>
            </a:r>
            <a:r>
              <a:rPr lang="en-US" sz="1600" dirty="0">
                <a:solidFill>
                  <a:schemeClr val="bg1"/>
                </a:solidFill>
                <a:latin typeface="Arial" panose="020B0604020202020204" pitchFamily="34" charset="0"/>
                <a:cs typeface="Arial" panose="020B0604020202020204" pitchFamily="34" charset="0"/>
              </a:rPr>
              <a:t>, will customers </a:t>
            </a:r>
            <a:r>
              <a:rPr lang="en-US" sz="1600" b="1" dirty="0">
                <a:solidFill>
                  <a:srgbClr val="188CE5"/>
                </a:solidFill>
                <a:latin typeface="Arial" panose="020B0604020202020204" pitchFamily="34" charset="0"/>
                <a:cs typeface="Arial" panose="020B0604020202020204" pitchFamily="34" charset="0"/>
              </a:rPr>
              <a:t>spend more time </a:t>
            </a:r>
            <a:r>
              <a:rPr lang="en-US" sz="1600" dirty="0">
                <a:solidFill>
                  <a:schemeClr val="bg1"/>
                </a:solidFill>
                <a:latin typeface="Arial" panose="020B0604020202020204" pitchFamily="34" charset="0"/>
                <a:cs typeface="Arial" panose="020B0604020202020204" pitchFamily="34" charset="0"/>
              </a:rPr>
              <a:t>on my website?</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If I change this </a:t>
            </a:r>
            <a:r>
              <a:rPr lang="en-US" sz="1600" b="1" dirty="0">
                <a:solidFill>
                  <a:srgbClr val="EA3A55"/>
                </a:solidFill>
                <a:latin typeface="Arial" panose="020B0604020202020204" pitchFamily="34" charset="0"/>
                <a:cs typeface="Arial" panose="020B0604020202020204" pitchFamily="34" charset="0"/>
              </a:rPr>
              <a:t>interaction</a:t>
            </a:r>
            <a:r>
              <a:rPr lang="en-US" sz="1600" dirty="0">
                <a:solidFill>
                  <a:schemeClr val="bg1"/>
                </a:solidFill>
                <a:latin typeface="Arial" panose="020B0604020202020204" pitchFamily="34" charset="0"/>
                <a:cs typeface="Arial" panose="020B0604020202020204" pitchFamily="34" charset="0"/>
              </a:rPr>
              <a:t>, will customers </a:t>
            </a:r>
            <a:r>
              <a:rPr lang="en-US" sz="1600" b="1" dirty="0">
                <a:solidFill>
                  <a:srgbClr val="188CE5"/>
                </a:solidFill>
                <a:latin typeface="Arial" panose="020B0604020202020204" pitchFamily="34" charset="0"/>
                <a:cs typeface="Arial" panose="020B0604020202020204" pitchFamily="34" charset="0"/>
              </a:rPr>
              <a:t>spend more money </a:t>
            </a:r>
            <a:r>
              <a:rPr lang="en-US" sz="1600" dirty="0">
                <a:solidFill>
                  <a:schemeClr val="bg1"/>
                </a:solidFill>
                <a:latin typeface="Arial" panose="020B0604020202020204" pitchFamily="34" charset="0"/>
                <a:cs typeface="Arial" panose="020B0604020202020204" pitchFamily="34" charset="0"/>
              </a:rPr>
              <a:t>in my shop?</a:t>
            </a:r>
          </a:p>
          <a:p>
            <a:endParaRPr lang="es-CO" sz="1600" dirty="0">
              <a:solidFill>
                <a:schemeClr val="bg1"/>
              </a:solidFill>
              <a:latin typeface="Arial" panose="020B0604020202020204" pitchFamily="34" charset="0"/>
              <a:cs typeface="Arial" panose="020B0604020202020204" pitchFamily="34" charset="0"/>
            </a:endParaRPr>
          </a:p>
          <a:p>
            <a:r>
              <a:rPr lang="es-CO" sz="1600" dirty="0" err="1">
                <a:solidFill>
                  <a:schemeClr val="bg1"/>
                </a:solidFill>
                <a:latin typeface="Arial" panose="020B0604020202020204" pitchFamily="34" charset="0"/>
                <a:cs typeface="Arial" panose="020B0604020202020204" pitchFamily="34" charset="0"/>
              </a:rPr>
              <a:t>Identify</a:t>
            </a:r>
            <a:r>
              <a:rPr lang="es-CO" sz="1600" dirty="0">
                <a:solidFill>
                  <a:schemeClr val="bg1"/>
                </a:solidFill>
                <a:latin typeface="Arial" panose="020B0604020202020204" pitchFamily="34" charset="0"/>
                <a:cs typeface="Arial" panose="020B0604020202020204" pitchFamily="34" charset="0"/>
              </a:rPr>
              <a:t> </a:t>
            </a:r>
            <a:r>
              <a:rPr lang="es-CO" sz="1600" dirty="0" err="1">
                <a:solidFill>
                  <a:schemeClr val="bg1"/>
                </a:solidFill>
                <a:latin typeface="Arial" panose="020B0604020202020204" pitchFamily="34" charset="0"/>
                <a:cs typeface="Arial" panose="020B0604020202020204" pitchFamily="34" charset="0"/>
              </a:rPr>
              <a:t>your</a:t>
            </a:r>
            <a:r>
              <a:rPr lang="es-CO" sz="1600" dirty="0">
                <a:solidFill>
                  <a:schemeClr val="bg1"/>
                </a:solidFill>
                <a:latin typeface="Arial" panose="020B0604020202020204" pitchFamily="34" charset="0"/>
                <a:cs typeface="Arial" panose="020B0604020202020204" pitchFamily="34" charset="0"/>
              </a:rPr>
              <a:t> variables</a:t>
            </a:r>
          </a:p>
          <a:p>
            <a:r>
              <a:rPr lang="en-US" sz="1600" b="1" dirty="0">
                <a:solidFill>
                  <a:srgbClr val="EA3A55"/>
                </a:solidFill>
                <a:latin typeface="Arial" panose="020B0604020202020204" pitchFamily="34" charset="0"/>
                <a:cs typeface="Arial" panose="020B0604020202020204" pitchFamily="34" charset="0"/>
              </a:rPr>
              <a:t>X - Independent variable (or cause): </a:t>
            </a:r>
            <a:r>
              <a:rPr lang="en-US" sz="1600" dirty="0">
                <a:solidFill>
                  <a:schemeClr val="bg1"/>
                </a:solidFill>
                <a:latin typeface="Arial" panose="020B0604020202020204" pitchFamily="34" charset="0"/>
                <a:cs typeface="Arial" panose="020B0604020202020204" pitchFamily="34" charset="0"/>
              </a:rPr>
              <a:t>This is the factor to be tested in the experiment. It is usually a variation of a current business practice. </a:t>
            </a:r>
          </a:p>
          <a:p>
            <a:r>
              <a:rPr lang="en-US" sz="1600" b="1" dirty="0">
                <a:solidFill>
                  <a:srgbClr val="188CE5"/>
                </a:solidFill>
                <a:latin typeface="Arial" panose="020B0604020202020204" pitchFamily="34" charset="0"/>
                <a:cs typeface="Arial" panose="020B0604020202020204" pitchFamily="34" charset="0"/>
              </a:rPr>
              <a:t>Y - Dependent variable (or effect): </a:t>
            </a:r>
            <a:r>
              <a:rPr lang="en-US" sz="1600" dirty="0">
                <a:solidFill>
                  <a:schemeClr val="bg1"/>
                </a:solidFill>
                <a:latin typeface="Arial" panose="020B0604020202020204" pitchFamily="34" charset="0"/>
                <a:cs typeface="Arial" panose="020B0604020202020204" pitchFamily="34" charset="0"/>
              </a:rPr>
              <a:t>This is the factor that you expect might be influenced by the innovation. It is a measure of the impact of </a:t>
            </a:r>
          </a:p>
          <a:p>
            <a:r>
              <a:rPr lang="en-US" sz="1600" dirty="0">
                <a:solidFill>
                  <a:schemeClr val="bg1"/>
                </a:solidFill>
                <a:latin typeface="Arial" panose="020B0604020202020204" pitchFamily="34" charset="0"/>
                <a:cs typeface="Arial" panose="020B0604020202020204" pitchFamily="34" charset="0"/>
              </a:rPr>
              <a:t>what is changing.</a:t>
            </a:r>
          </a:p>
        </p:txBody>
      </p:sp>
      <p:sp>
        <p:nvSpPr>
          <p:cNvPr id="7" name="Rectangle: Folded Corner 6">
            <a:extLst>
              <a:ext uri="{FF2B5EF4-FFF2-40B4-BE49-F238E27FC236}">
                <a16:creationId xmlns:a16="http://schemas.microsoft.com/office/drawing/2014/main" id="{10D67952-9BD1-4556-B354-1E5EB6C3ABF1}"/>
              </a:ext>
            </a:extLst>
          </p:cNvPr>
          <p:cNvSpPr/>
          <p:nvPr/>
        </p:nvSpPr>
        <p:spPr>
          <a:xfrm>
            <a:off x="654119" y="2334159"/>
            <a:ext cx="3355321" cy="2880048"/>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600" dirty="0">
              <a:solidFill>
                <a:schemeClr val="tx1"/>
              </a:solidFill>
              <a:latin typeface="Arial" panose="020B0604020202020204" pitchFamily="34" charset="0"/>
              <a:cs typeface="Arial" panose="020B0604020202020204" pitchFamily="34" charset="0"/>
            </a:endParaRPr>
          </a:p>
          <a:p>
            <a:endParaRPr lang="es-CO" sz="1600" dirty="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Remember </a:t>
            </a:r>
            <a:r>
              <a:rPr lang="en-US" sz="1600" b="1" dirty="0">
                <a:solidFill>
                  <a:schemeClr val="tx1"/>
                </a:solidFill>
                <a:latin typeface="Arial" panose="020B0604020202020204" pitchFamily="34" charset="0"/>
                <a:cs typeface="Arial" panose="020B0604020202020204" pitchFamily="34" charset="0"/>
              </a:rPr>
              <a:t>X</a:t>
            </a:r>
            <a:r>
              <a:rPr lang="en-US" sz="1600" dirty="0">
                <a:solidFill>
                  <a:schemeClr val="tx1"/>
                </a:solidFill>
                <a:latin typeface="Arial" panose="020B0604020202020204" pitchFamily="34" charset="0"/>
                <a:cs typeface="Arial" panose="020B0604020202020204" pitchFamily="34" charset="0"/>
              </a:rPr>
              <a:t> is your innovation (the one you defined in step 1) and </a:t>
            </a:r>
            <a:r>
              <a:rPr lang="en-US" sz="1600" b="1" dirty="0">
                <a:solidFill>
                  <a:schemeClr val="tx1"/>
                </a:solidFill>
                <a:latin typeface="Arial" panose="020B0604020202020204" pitchFamily="34" charset="0"/>
                <a:cs typeface="Arial" panose="020B0604020202020204" pitchFamily="34" charset="0"/>
              </a:rPr>
              <a:t>Y</a:t>
            </a:r>
            <a:r>
              <a:rPr lang="en-US" sz="1600" dirty="0">
                <a:solidFill>
                  <a:schemeClr val="tx1"/>
                </a:solidFill>
                <a:latin typeface="Arial" panose="020B0604020202020204" pitchFamily="34" charset="0"/>
                <a:cs typeface="Arial" panose="020B0604020202020204" pitchFamily="34" charset="0"/>
              </a:rPr>
              <a:t> is the effect that innovation could have. </a:t>
            </a:r>
          </a:p>
          <a:p>
            <a:endParaRPr lang="en-US" sz="1600" dirty="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You can define several effects (Y) for the innovation (X) you set up.</a:t>
            </a:r>
          </a:p>
        </p:txBody>
      </p:sp>
    </p:spTree>
    <p:extLst>
      <p:ext uri="{BB962C8B-B14F-4D97-AF65-F5344CB8AC3E}">
        <p14:creationId xmlns:p14="http://schemas.microsoft.com/office/powerpoint/2010/main" val="1602021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0E77D9-5101-4269-B608-484B42BDD493}"/>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3</a:t>
            </a:r>
            <a:r>
              <a:rPr lang="es-CO" sz="1600" b="1">
                <a:solidFill>
                  <a:schemeClr val="bg1"/>
                </a:solidFill>
                <a:latin typeface="Arial" panose="020B0604020202020204" pitchFamily="34" charset="0"/>
                <a:cs typeface="Arial" panose="020B0604020202020204" pitchFamily="34" charset="0"/>
              </a:rPr>
              <a:t>. </a:t>
            </a:r>
            <a:r>
              <a:rPr lang="es-CO" sz="1600" b="1" dirty="0" err="1">
                <a:solidFill>
                  <a:schemeClr val="bg1"/>
                </a:solidFill>
                <a:latin typeface="Arial" panose="020B0604020202020204" pitchFamily="34" charset="0"/>
                <a:cs typeface="Arial" panose="020B0604020202020204" pitchFamily="34" charset="0"/>
              </a:rPr>
              <a:t>Choose</a:t>
            </a:r>
            <a:r>
              <a:rPr lang="es-CO" sz="1600" b="1" dirty="0">
                <a:solidFill>
                  <a:schemeClr val="bg1"/>
                </a:solidFill>
                <a:latin typeface="Arial" panose="020B0604020202020204" pitchFamily="34" charset="0"/>
                <a:cs typeface="Arial" panose="020B0604020202020204" pitchFamily="34" charset="0"/>
              </a:rPr>
              <a:t> </a:t>
            </a:r>
            <a:r>
              <a:rPr lang="es-CO" sz="1600" b="1" dirty="0" err="1">
                <a:solidFill>
                  <a:schemeClr val="bg1"/>
                </a:solidFill>
                <a:latin typeface="Arial" panose="020B0604020202020204" pitchFamily="34" charset="0"/>
                <a:cs typeface="Arial" panose="020B0604020202020204" pitchFamily="34" charset="0"/>
              </a:rPr>
              <a:t>your</a:t>
            </a:r>
            <a:r>
              <a:rPr lang="es-CO" sz="1600" b="1" dirty="0">
                <a:solidFill>
                  <a:schemeClr val="bg1"/>
                </a:solidFill>
                <a:latin typeface="Arial" panose="020B0604020202020204" pitchFamily="34" charset="0"/>
                <a:cs typeface="Arial" panose="020B0604020202020204" pitchFamily="34" charset="0"/>
              </a:rPr>
              <a:t> </a:t>
            </a:r>
            <a:r>
              <a:rPr lang="es-CO" sz="1600" b="1" dirty="0" err="1">
                <a:solidFill>
                  <a:schemeClr val="bg1"/>
                </a:solidFill>
                <a:latin typeface="Arial" panose="020B0604020202020204" pitchFamily="34" charset="0"/>
                <a:cs typeface="Arial" panose="020B0604020202020204" pitchFamily="34" charset="0"/>
              </a:rPr>
              <a:t>population</a:t>
            </a:r>
            <a:endParaRPr lang="es-CO" sz="1600" b="1"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91ED6617-3ABA-4373-BEBF-8246874EC35C}"/>
              </a:ext>
            </a:extLst>
          </p:cNvPr>
          <p:cNvSpPr txBox="1"/>
          <p:nvPr/>
        </p:nvSpPr>
        <p:spPr>
          <a:xfrm>
            <a:off x="4572797" y="1036765"/>
            <a:ext cx="6965084" cy="830997"/>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Before conducting a convergent experiment, you must identify a population whose responses you want to test, i.e. the group of customers to whom you will introduce your </a:t>
            </a:r>
            <a:r>
              <a:rPr lang="en-US" sz="1600" b="1" dirty="0">
                <a:solidFill>
                  <a:srgbClr val="EA3A55"/>
                </a:solidFill>
                <a:latin typeface="Arial" panose="020B0604020202020204" pitchFamily="34" charset="0"/>
                <a:cs typeface="Arial" panose="020B0604020202020204" pitchFamily="34" charset="0"/>
              </a:rPr>
              <a:t>innovation</a:t>
            </a:r>
            <a:r>
              <a:rPr lang="en-US" sz="1600" dirty="0">
                <a:solidFill>
                  <a:schemeClr val="bg1"/>
                </a:solidFill>
                <a:latin typeface="Arial" panose="020B0604020202020204" pitchFamily="34" charset="0"/>
                <a:cs typeface="Arial" panose="020B0604020202020204" pitchFamily="34" charset="0"/>
              </a:rPr>
              <a:t>.</a:t>
            </a:r>
          </a:p>
        </p:txBody>
      </p:sp>
      <p:sp>
        <p:nvSpPr>
          <p:cNvPr id="18" name="Rectangle 17">
            <a:extLst>
              <a:ext uri="{FF2B5EF4-FFF2-40B4-BE49-F238E27FC236}">
                <a16:creationId xmlns:a16="http://schemas.microsoft.com/office/drawing/2014/main" id="{08AD6123-BF5C-4B90-B653-C7A379E7C323}"/>
              </a:ext>
            </a:extLst>
          </p:cNvPr>
          <p:cNvSpPr/>
          <p:nvPr/>
        </p:nvSpPr>
        <p:spPr>
          <a:xfrm>
            <a:off x="654119" y="3933350"/>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4. Test and </a:t>
            </a:r>
            <a:r>
              <a:rPr lang="es-CO" sz="1600" b="1" dirty="0" err="1">
                <a:solidFill>
                  <a:schemeClr val="bg1"/>
                </a:solidFill>
                <a:latin typeface="Arial" panose="020B0604020202020204" pitchFamily="34" charset="0"/>
                <a:cs typeface="Arial" panose="020B0604020202020204" pitchFamily="34" charset="0"/>
              </a:rPr>
              <a:t>analyze</a:t>
            </a:r>
            <a:endParaRPr lang="es-CO" sz="1600" b="1" dirty="0">
              <a:solidFill>
                <a:schemeClr val="bg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6CAE5D9-122E-4FA6-A910-641FFE48A404}"/>
              </a:ext>
            </a:extLst>
          </p:cNvPr>
          <p:cNvSpPr txBox="1"/>
          <p:nvPr/>
        </p:nvSpPr>
        <p:spPr>
          <a:xfrm>
            <a:off x="654119" y="2030484"/>
            <a:ext cx="8113961" cy="1815882"/>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Randomly assign members of that population to one of two groups:</a:t>
            </a:r>
          </a:p>
          <a:p>
            <a:endParaRPr lang="en-US" sz="16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The </a:t>
            </a:r>
            <a:r>
              <a:rPr lang="en-US" sz="1600" b="1" dirty="0">
                <a:solidFill>
                  <a:schemeClr val="bg1"/>
                </a:solidFill>
                <a:highlight>
                  <a:srgbClr val="EA3A55"/>
                </a:highlight>
                <a:latin typeface="Arial" panose="020B0604020202020204" pitchFamily="34" charset="0"/>
                <a:cs typeface="Arial" panose="020B0604020202020204" pitchFamily="34" charset="0"/>
              </a:rPr>
              <a:t>test group</a:t>
            </a:r>
            <a:r>
              <a:rPr lang="en-US" sz="1600" dirty="0">
                <a:solidFill>
                  <a:schemeClr val="bg1"/>
                </a:solidFill>
                <a:latin typeface="Arial" panose="020B0604020202020204" pitchFamily="34" charset="0"/>
                <a:cs typeface="Arial" panose="020B0604020202020204" pitchFamily="34" charset="0"/>
              </a:rPr>
              <a:t>, which receives the experience or offer being tested.</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The </a:t>
            </a:r>
            <a:r>
              <a:rPr lang="en-US" sz="1600" b="1" dirty="0">
                <a:solidFill>
                  <a:schemeClr val="bg1"/>
                </a:solidFill>
                <a:highlight>
                  <a:srgbClr val="3D108A"/>
                </a:highlight>
                <a:latin typeface="Arial" panose="020B0604020202020204" pitchFamily="34" charset="0"/>
                <a:cs typeface="Arial" panose="020B0604020202020204" pitchFamily="34" charset="0"/>
              </a:rPr>
              <a:t>control group</a:t>
            </a:r>
            <a:r>
              <a:rPr lang="en-US" sz="1600" dirty="0">
                <a:solidFill>
                  <a:schemeClr val="bg1"/>
                </a:solidFill>
                <a:latin typeface="Arial" panose="020B0604020202020204" pitchFamily="34" charset="0"/>
                <a:cs typeface="Arial" panose="020B0604020202020204" pitchFamily="34" charset="0"/>
              </a:rPr>
              <a:t>, which receives the standard experience or offer.</a:t>
            </a:r>
          </a:p>
          <a:p>
            <a:endParaRPr lang="en-US" sz="1600" dirty="0">
              <a:solidFill>
                <a:schemeClr val="bg1"/>
              </a:solidFill>
              <a:latin typeface="Arial" panose="020B0604020202020204" pitchFamily="34" charset="0"/>
              <a:cs typeface="Arial" panose="020B0604020202020204" pitchFamily="34" charset="0"/>
            </a:endParaRPr>
          </a:p>
          <a:p>
            <a:r>
              <a:rPr lang="en-US" sz="1600" dirty="0">
                <a:solidFill>
                  <a:schemeClr val="bg1"/>
                </a:solidFill>
                <a:latin typeface="Arial" panose="020B0604020202020204" pitchFamily="34" charset="0"/>
                <a:cs typeface="Arial" panose="020B0604020202020204" pitchFamily="34" charset="0"/>
              </a:rPr>
              <a:t>Describe your target population and the method you will use to have a random sample of participants. </a:t>
            </a:r>
          </a:p>
        </p:txBody>
      </p:sp>
      <p:sp>
        <p:nvSpPr>
          <p:cNvPr id="20" name="TextBox 19">
            <a:extLst>
              <a:ext uri="{FF2B5EF4-FFF2-40B4-BE49-F238E27FC236}">
                <a16:creationId xmlns:a16="http://schemas.microsoft.com/office/drawing/2014/main" id="{06EA800D-A31D-4CC8-B3EF-6E547972E8B9}"/>
              </a:ext>
            </a:extLst>
          </p:cNvPr>
          <p:cNvSpPr txBox="1"/>
          <p:nvPr/>
        </p:nvSpPr>
        <p:spPr>
          <a:xfrm>
            <a:off x="4588515" y="4063051"/>
            <a:ext cx="6965084" cy="584775"/>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Describe what your test environment will be like vs. your control environment.</a:t>
            </a:r>
          </a:p>
        </p:txBody>
      </p:sp>
      <p:sp>
        <p:nvSpPr>
          <p:cNvPr id="22" name="TextBox 21">
            <a:extLst>
              <a:ext uri="{FF2B5EF4-FFF2-40B4-BE49-F238E27FC236}">
                <a16:creationId xmlns:a16="http://schemas.microsoft.com/office/drawing/2014/main" id="{645F60E9-B61B-485D-A034-D272D39DC09C}"/>
              </a:ext>
            </a:extLst>
          </p:cNvPr>
          <p:cNvSpPr txBox="1"/>
          <p:nvPr/>
        </p:nvSpPr>
        <p:spPr>
          <a:xfrm>
            <a:off x="4572797" y="4754541"/>
            <a:ext cx="6965084" cy="1569660"/>
          </a:xfrm>
          <a:prstGeom prst="rect">
            <a:avLst/>
          </a:prstGeom>
          <a:noFill/>
        </p:spPr>
        <p:txBody>
          <a:bodyPr wrap="square">
            <a:spAutoFit/>
          </a:bodyPr>
          <a:lstStyle/>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What will the experience be like for the control group?</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What will the experience be like for the test group? </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How will you collect data to know the results (impact) of your innovation?</a:t>
            </a:r>
          </a:p>
          <a:p>
            <a:pPr marL="285750" indent="-285750">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How will you know that the results are not contaminated by other variables?</a:t>
            </a:r>
          </a:p>
        </p:txBody>
      </p:sp>
      <p:pic>
        <p:nvPicPr>
          <p:cNvPr id="3" name="Graphic 2" descr="Microscope with chemical flasks">
            <a:extLst>
              <a:ext uri="{FF2B5EF4-FFF2-40B4-BE49-F238E27FC236}">
                <a16:creationId xmlns:a16="http://schemas.microsoft.com/office/drawing/2014/main" id="{ECCD6DD9-0F71-4104-B9A7-CCB3D51FB049}"/>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4204" t="15027" b="12601"/>
          <a:stretch/>
        </p:blipFill>
        <p:spPr>
          <a:xfrm>
            <a:off x="1015999" y="4531307"/>
            <a:ext cx="2668673" cy="2016128"/>
          </a:xfrm>
          <a:prstGeom prst="rect">
            <a:avLst/>
          </a:prstGeom>
        </p:spPr>
      </p:pic>
      <p:sp>
        <p:nvSpPr>
          <p:cNvPr id="11" name="TextBox 10">
            <a:extLst>
              <a:ext uri="{FF2B5EF4-FFF2-40B4-BE49-F238E27FC236}">
                <a16:creationId xmlns:a16="http://schemas.microsoft.com/office/drawing/2014/main" id="{69EFCC93-83DE-44A8-BFD8-165913F82D59}"/>
              </a:ext>
            </a:extLst>
          </p:cNvPr>
          <p:cNvSpPr txBox="1"/>
          <p:nvPr/>
        </p:nvSpPr>
        <p:spPr>
          <a:xfrm>
            <a:off x="654119" y="201136"/>
            <a:ext cx="7113467" cy="400110"/>
          </a:xfrm>
          <a:prstGeom prst="rect">
            <a:avLst/>
          </a:prstGeom>
          <a:noFill/>
        </p:spPr>
        <p:txBody>
          <a:bodyPr wrap="square">
            <a:spAutoFit/>
          </a:bodyPr>
          <a:lstStyle/>
          <a:p>
            <a:r>
              <a:rPr lang="en-US" sz="2000" b="1" dirty="0">
                <a:solidFill>
                  <a:schemeClr val="bg1"/>
                </a:solidFill>
                <a:latin typeface="Arial" panose="020B0604020202020204" pitchFamily="34" charset="0"/>
                <a:cs typeface="Arial" panose="020B0604020202020204" pitchFamily="34" charset="0"/>
              </a:rPr>
              <a:t>Tool: convergent experimental method</a:t>
            </a:r>
            <a:endParaRPr lang="en-US" sz="2000" dirty="0">
              <a:solidFill>
                <a:schemeClr val="bg1"/>
              </a:solidFill>
              <a:latin typeface="Arial" panose="020B0604020202020204" pitchFamily="34" charset="0"/>
              <a:cs typeface="Arial" panose="020B0604020202020204" pitchFamily="34" charset="0"/>
            </a:endParaRPr>
          </a:p>
        </p:txBody>
      </p:sp>
      <p:sp>
        <p:nvSpPr>
          <p:cNvPr id="10" name="Rectangle: Folded Corner 9">
            <a:extLst>
              <a:ext uri="{FF2B5EF4-FFF2-40B4-BE49-F238E27FC236}">
                <a16:creationId xmlns:a16="http://schemas.microsoft.com/office/drawing/2014/main" id="{36A83521-2A05-4E92-84B4-A8CF8AA49488}"/>
              </a:ext>
            </a:extLst>
          </p:cNvPr>
          <p:cNvSpPr/>
          <p:nvPr/>
        </p:nvSpPr>
        <p:spPr>
          <a:xfrm>
            <a:off x="8857812" y="1867762"/>
            <a:ext cx="2695787" cy="1952861"/>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200" dirty="0">
                <a:solidFill>
                  <a:schemeClr val="tx1"/>
                </a:solidFill>
                <a:latin typeface="Arial" panose="020B0604020202020204" pitchFamily="34" charset="0"/>
                <a:cs typeface="Arial" panose="020B0604020202020204" pitchFamily="34" charset="0"/>
              </a:rPr>
              <a:t>Your target population is the group of people to whom you intend to offer your innovation. </a:t>
            </a:r>
          </a:p>
          <a:p>
            <a:r>
              <a:rPr lang="en-US" sz="1200" dirty="0">
                <a:solidFill>
                  <a:schemeClr val="tx1"/>
                </a:solidFill>
                <a:latin typeface="Arial" panose="020B0604020202020204" pitchFamily="34" charset="0"/>
                <a:cs typeface="Arial" panose="020B0604020202020204" pitchFamily="34" charset="0"/>
              </a:rPr>
              <a:t>Avoid biasing the group, i.e. if your innovation is to change the shopping cart on your website, your target population should contain people of all ages and not just younger users who are more familiar with technology. </a:t>
            </a:r>
          </a:p>
        </p:txBody>
      </p:sp>
    </p:spTree>
    <p:extLst>
      <p:ext uri="{BB962C8B-B14F-4D97-AF65-F5344CB8AC3E}">
        <p14:creationId xmlns:p14="http://schemas.microsoft.com/office/powerpoint/2010/main" val="24946688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33BA57-306C-4D62-87B7-9DC7817442B3}"/>
              </a:ext>
            </a:extLst>
          </p:cNvPr>
          <p:cNvSpPr txBox="1"/>
          <p:nvPr/>
        </p:nvSpPr>
        <p:spPr>
          <a:xfrm>
            <a:off x="654119" y="201136"/>
            <a:ext cx="7113467" cy="400110"/>
          </a:xfrm>
          <a:prstGeom prst="rect">
            <a:avLst/>
          </a:prstGeom>
          <a:noFill/>
        </p:spPr>
        <p:txBody>
          <a:bodyPr wrap="square">
            <a:spAutoFit/>
          </a:bodyPr>
          <a:lstStyle/>
          <a:p>
            <a:r>
              <a:rPr lang="es-CO" sz="2000" b="1">
                <a:solidFill>
                  <a:schemeClr val="bg1"/>
                </a:solidFill>
                <a:latin typeface="Arial" panose="020B0604020202020204" pitchFamily="34" charset="0"/>
                <a:cs typeface="Arial" panose="020B0604020202020204" pitchFamily="34" charset="0"/>
              </a:rPr>
              <a:t>Tool: </a:t>
            </a:r>
            <a:r>
              <a:rPr lang="es-CO" sz="2000" b="1" err="1">
                <a:solidFill>
                  <a:schemeClr val="bg1"/>
                </a:solidFill>
                <a:latin typeface="Arial" panose="020B0604020202020204" pitchFamily="34" charset="0"/>
                <a:cs typeface="Arial" panose="020B0604020202020204" pitchFamily="34" charset="0"/>
              </a:rPr>
              <a:t>convergent</a:t>
            </a:r>
            <a:r>
              <a:rPr lang="es-CO" sz="2000" b="1">
                <a:solidFill>
                  <a:schemeClr val="bg1"/>
                </a:solidFill>
                <a:latin typeface="Arial" panose="020B0604020202020204" pitchFamily="34" charset="0"/>
                <a:cs typeface="Arial" panose="020B0604020202020204" pitchFamily="34" charset="0"/>
              </a:rPr>
              <a:t> experimental </a:t>
            </a:r>
            <a:r>
              <a:rPr lang="es-CO" sz="2000" b="1" err="1">
                <a:solidFill>
                  <a:schemeClr val="bg1"/>
                </a:solidFill>
                <a:latin typeface="Arial" panose="020B0604020202020204" pitchFamily="34" charset="0"/>
                <a:cs typeface="Arial" panose="020B0604020202020204" pitchFamily="34" charset="0"/>
              </a:rPr>
              <a:t>method</a:t>
            </a:r>
            <a:endParaRPr lang="es-CO" sz="200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D80E77D9-5101-4269-B608-484B42BDD493}"/>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a:solidFill>
                  <a:schemeClr val="bg1"/>
                </a:solidFill>
                <a:latin typeface="Arial" panose="020B0604020202020204" pitchFamily="34" charset="0"/>
                <a:cs typeface="Arial" panose="020B0604020202020204" pitchFamily="34" charset="0"/>
              </a:rPr>
              <a:t>5. Decide</a:t>
            </a:r>
          </a:p>
        </p:txBody>
      </p:sp>
      <p:sp>
        <p:nvSpPr>
          <p:cNvPr id="16" name="TextBox 15">
            <a:extLst>
              <a:ext uri="{FF2B5EF4-FFF2-40B4-BE49-F238E27FC236}">
                <a16:creationId xmlns:a16="http://schemas.microsoft.com/office/drawing/2014/main" id="{91ED6617-3ABA-4373-BEBF-8246874EC35C}"/>
              </a:ext>
            </a:extLst>
          </p:cNvPr>
          <p:cNvSpPr txBox="1"/>
          <p:nvPr/>
        </p:nvSpPr>
        <p:spPr>
          <a:xfrm>
            <a:off x="4572797" y="1036765"/>
            <a:ext cx="6965084" cy="584775"/>
          </a:xfrm>
          <a:prstGeom prst="rect">
            <a:avLst/>
          </a:prstGeom>
          <a:noFill/>
        </p:spPr>
        <p:txBody>
          <a:bodyPr wrap="square">
            <a:spAutoFit/>
          </a:bodyPr>
          <a:lstStyle/>
          <a:p>
            <a:r>
              <a:rPr lang="en-US" sz="1600">
                <a:solidFill>
                  <a:schemeClr val="bg1"/>
                </a:solidFill>
                <a:latin typeface="Arial" panose="020B0604020202020204" pitchFamily="34" charset="0"/>
                <a:cs typeface="Arial" panose="020B0604020202020204" pitchFamily="34" charset="0"/>
              </a:rPr>
              <a:t>Decide if the results of your innovation were satisfactory or you should continue iterating.</a:t>
            </a:r>
            <a:endParaRPr lang="es-CO" sz="1600" b="1">
              <a:solidFill>
                <a:srgbClr val="EA3A55"/>
              </a:solidFill>
              <a:latin typeface="Arial" panose="020B0604020202020204" pitchFamily="34" charset="0"/>
              <a:cs typeface="Arial" panose="020B0604020202020204" pitchFamily="34" charset="0"/>
            </a:endParaRPr>
          </a:p>
        </p:txBody>
      </p:sp>
      <p:pic>
        <p:nvPicPr>
          <p:cNvPr id="21" name="Graphic 20" descr="Decorative circles">
            <a:extLst>
              <a:ext uri="{FF2B5EF4-FFF2-40B4-BE49-F238E27FC236}">
                <a16:creationId xmlns:a16="http://schemas.microsoft.com/office/drawing/2014/main" id="{BDC809D2-4742-43D5-9208-60B7A46CDA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579164" y="2569950"/>
            <a:ext cx="4572000" cy="4572000"/>
          </a:xfrm>
          <a:prstGeom prst="rect">
            <a:avLst/>
          </a:prstGeom>
        </p:spPr>
      </p:pic>
      <p:sp>
        <p:nvSpPr>
          <p:cNvPr id="19" name="TextBox 18">
            <a:extLst>
              <a:ext uri="{FF2B5EF4-FFF2-40B4-BE49-F238E27FC236}">
                <a16:creationId xmlns:a16="http://schemas.microsoft.com/office/drawing/2014/main" id="{96CAE5D9-122E-4FA6-A910-641FFE48A404}"/>
              </a:ext>
            </a:extLst>
          </p:cNvPr>
          <p:cNvSpPr txBox="1"/>
          <p:nvPr/>
        </p:nvSpPr>
        <p:spPr>
          <a:xfrm>
            <a:off x="654119" y="1968675"/>
            <a:ext cx="10883762" cy="1077218"/>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Considering the question posed in step 2, define what will be the indicators that will measure the success of your innovation.
</a:t>
            </a:r>
            <a:endParaRPr lang="es-CO" sz="1600" dirty="0">
              <a:solidFill>
                <a:schemeClr val="bg1"/>
              </a:solidFill>
              <a:latin typeface="Arial" panose="020B0604020202020204" pitchFamily="34" charset="0"/>
              <a:cs typeface="Arial" panose="020B0604020202020204" pitchFamily="34" charset="0"/>
            </a:endParaRPr>
          </a:p>
          <a:p>
            <a:r>
              <a:rPr lang="es-CO" sz="1600" b="1" u="sng" dirty="0" err="1">
                <a:solidFill>
                  <a:schemeClr val="bg1"/>
                </a:solidFill>
                <a:latin typeface="Arial" panose="020B0604020202020204" pitchFamily="34" charset="0"/>
                <a:cs typeface="Arial" panose="020B0604020202020204" pitchFamily="34" charset="0"/>
              </a:rPr>
              <a:t>Examples</a:t>
            </a:r>
            <a:r>
              <a:rPr lang="es-CO" sz="1600" b="1" u="sng" dirty="0">
                <a:solidFill>
                  <a:schemeClr val="bg1"/>
                </a:solidFill>
                <a:latin typeface="Arial" panose="020B0604020202020204" pitchFamily="34" charset="0"/>
                <a:cs typeface="Arial" panose="020B0604020202020204" pitchFamily="34" charset="0"/>
              </a:rPr>
              <a:t>: </a:t>
            </a:r>
          </a:p>
        </p:txBody>
      </p:sp>
      <p:graphicFrame>
        <p:nvGraphicFramePr>
          <p:cNvPr id="3" name="Table 3">
            <a:extLst>
              <a:ext uri="{FF2B5EF4-FFF2-40B4-BE49-F238E27FC236}">
                <a16:creationId xmlns:a16="http://schemas.microsoft.com/office/drawing/2014/main" id="{1FAC86E6-7510-4026-A4EF-EEA428280EC2}"/>
              </a:ext>
            </a:extLst>
          </p:cNvPr>
          <p:cNvGraphicFramePr>
            <a:graphicFrameLocks noGrp="1"/>
          </p:cNvGraphicFramePr>
          <p:nvPr>
            <p:extLst>
              <p:ext uri="{D42A27DB-BD31-4B8C-83A1-F6EECF244321}">
                <p14:modId xmlns:p14="http://schemas.microsoft.com/office/powerpoint/2010/main" val="1133944559"/>
              </p:ext>
            </p:extLst>
          </p:nvPr>
        </p:nvGraphicFramePr>
        <p:xfrm>
          <a:off x="730144" y="3142018"/>
          <a:ext cx="7386245" cy="3083560"/>
        </p:xfrm>
        <a:graphic>
          <a:graphicData uri="http://schemas.openxmlformats.org/drawingml/2006/table">
            <a:tbl>
              <a:tblPr firstRow="1" bandRow="1">
                <a:tableStyleId>{5C22544A-7EE6-4342-B048-85BDC9FD1C3A}</a:tableStyleId>
              </a:tblPr>
              <a:tblGrid>
                <a:gridCol w="3798313">
                  <a:extLst>
                    <a:ext uri="{9D8B030D-6E8A-4147-A177-3AD203B41FA5}">
                      <a16:colId xmlns:a16="http://schemas.microsoft.com/office/drawing/2014/main" val="341505871"/>
                    </a:ext>
                  </a:extLst>
                </a:gridCol>
                <a:gridCol w="3587932">
                  <a:extLst>
                    <a:ext uri="{9D8B030D-6E8A-4147-A177-3AD203B41FA5}">
                      <a16:colId xmlns:a16="http://schemas.microsoft.com/office/drawing/2014/main" val="4161841652"/>
                    </a:ext>
                  </a:extLst>
                </a:gridCol>
              </a:tblGrid>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s-CO" sz="1400">
                          <a:solidFill>
                            <a:schemeClr val="bg1"/>
                          </a:solidFill>
                          <a:latin typeface="Arial" panose="020B0604020202020204" pitchFamily="34" charset="0"/>
                          <a:cs typeface="Arial" panose="020B0604020202020204" pitchFamily="34" charset="0"/>
                        </a:rPr>
                        <a:t>Question</a:t>
                      </a:r>
                    </a:p>
                  </a:txBody>
                  <a:tcPr>
                    <a:noFill/>
                  </a:tcPr>
                </a:tc>
                <a:tc>
                  <a:txBody>
                    <a:bodyPr/>
                    <a:lstStyle/>
                    <a:p>
                      <a:r>
                        <a:rPr lang="es-CO" sz="1400">
                          <a:latin typeface="Arial" panose="020B0604020202020204" pitchFamily="34" charset="0"/>
                          <a:cs typeface="Arial" panose="020B0604020202020204" pitchFamily="34" charset="0"/>
                        </a:rPr>
                        <a:t>Indicator</a:t>
                      </a:r>
                    </a:p>
                  </a:txBody>
                  <a:tcPr>
                    <a:noFill/>
                  </a:tcPr>
                </a:tc>
                <a:extLst>
                  <a:ext uri="{0D108BD9-81ED-4DB2-BD59-A6C34878D82A}">
                    <a16:rowId xmlns:a16="http://schemas.microsoft.com/office/drawing/2014/main" val="3455858007"/>
                  </a:ext>
                </a:extLst>
              </a:tr>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rial" panose="020B0604020202020204" pitchFamily="34" charset="0"/>
                          <a:cs typeface="Arial" panose="020B0604020202020204" pitchFamily="34" charset="0"/>
                        </a:rPr>
                        <a:t>How will our </a:t>
                      </a:r>
                      <a:r>
                        <a:rPr lang="en-US" sz="1400" b="1">
                          <a:solidFill>
                            <a:srgbClr val="EA3A55"/>
                          </a:solidFill>
                          <a:latin typeface="Arial" panose="020B0604020202020204" pitchFamily="34" charset="0"/>
                          <a:cs typeface="Arial" panose="020B0604020202020204" pitchFamily="34" charset="0"/>
                        </a:rPr>
                        <a:t>new service </a:t>
                      </a:r>
                      <a:r>
                        <a:rPr lang="en-US" sz="1400">
                          <a:solidFill>
                            <a:schemeClr val="bg1"/>
                          </a:solidFill>
                          <a:latin typeface="Arial" panose="020B0604020202020204" pitchFamily="34" charset="0"/>
                          <a:cs typeface="Arial" panose="020B0604020202020204" pitchFamily="34" charset="0"/>
                        </a:rPr>
                        <a:t>offering </a:t>
                      </a:r>
                      <a:r>
                        <a:rPr lang="en-US" sz="1400" b="1">
                          <a:solidFill>
                            <a:srgbClr val="188CE5"/>
                          </a:solidFill>
                          <a:latin typeface="Arial" panose="020B0604020202020204" pitchFamily="34" charset="0"/>
                          <a:cs typeface="Arial" panose="020B0604020202020204" pitchFamily="34" charset="0"/>
                        </a:rPr>
                        <a:t>affect customer retention</a:t>
                      </a:r>
                      <a:r>
                        <a:rPr lang="en-US" sz="1400">
                          <a:solidFill>
                            <a:schemeClr val="bg1"/>
                          </a:solidFill>
                          <a:latin typeface="Arial" panose="020B0604020202020204" pitchFamily="34" charset="0"/>
                          <a:cs typeface="Arial" panose="020B0604020202020204" pitchFamily="34" charset="0"/>
                        </a:rPr>
                        <a:t>?</a:t>
                      </a:r>
                      <a:endParaRPr lang="es-CO" sz="1400">
                        <a:solidFill>
                          <a:schemeClr val="bg1"/>
                        </a:solidFill>
                        <a:latin typeface="Arial" panose="020B0604020202020204" pitchFamily="34" charset="0"/>
                        <a:cs typeface="Arial" panose="020B0604020202020204" pitchFamily="34" charset="0"/>
                      </a:endParaRPr>
                    </a:p>
                  </a:txBody>
                  <a:tcPr>
                    <a:noFill/>
                  </a:tcPr>
                </a:tc>
                <a:tc>
                  <a:txBody>
                    <a:bodyPr/>
                    <a:lstStyle/>
                    <a:p>
                      <a:r>
                        <a:rPr lang="en-US" sz="1400">
                          <a:solidFill>
                            <a:schemeClr val="bg1"/>
                          </a:solidFill>
                          <a:latin typeface="Arial" panose="020B0604020202020204" pitchFamily="34" charset="0"/>
                          <a:cs typeface="Arial" panose="020B0604020202020204" pitchFamily="34" charset="0"/>
                        </a:rPr>
                        <a:t>35% increase in customer retention
</a:t>
                      </a:r>
                      <a:endParaRPr lang="es-CO" sz="1400">
                        <a:solidFill>
                          <a:schemeClr val="bg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1793577140"/>
                  </a:ext>
                </a:extLst>
              </a:tr>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rial" panose="020B0604020202020204" pitchFamily="34" charset="0"/>
                          <a:cs typeface="Arial" panose="020B0604020202020204" pitchFamily="34" charset="0"/>
                        </a:rPr>
                        <a:t>How will the</a:t>
                      </a:r>
                      <a:r>
                        <a:rPr lang="en-US" sz="1400" b="1">
                          <a:solidFill>
                            <a:srgbClr val="EA3A55"/>
                          </a:solidFill>
                          <a:latin typeface="Arial" panose="020B0604020202020204" pitchFamily="34" charset="0"/>
                          <a:cs typeface="Arial" panose="020B0604020202020204" pitchFamily="34" charset="0"/>
                        </a:rPr>
                        <a:t> redesign of our customer service</a:t>
                      </a:r>
                      <a:r>
                        <a:rPr lang="en-US" sz="1400">
                          <a:solidFill>
                            <a:schemeClr val="bg1"/>
                          </a:solidFill>
                          <a:latin typeface="Arial" panose="020B0604020202020204" pitchFamily="34" charset="0"/>
                          <a:cs typeface="Arial" panose="020B0604020202020204" pitchFamily="34" charset="0"/>
                        </a:rPr>
                        <a:t> portal affect </a:t>
                      </a:r>
                      <a:r>
                        <a:rPr lang="en-US" sz="1400" b="1">
                          <a:solidFill>
                            <a:srgbClr val="188CE5"/>
                          </a:solidFill>
                          <a:latin typeface="Arial" panose="020B0604020202020204" pitchFamily="34" charset="0"/>
                          <a:cs typeface="Arial" panose="020B0604020202020204" pitchFamily="34" charset="0"/>
                        </a:rPr>
                        <a:t>customer satisfaction</a:t>
                      </a:r>
                      <a:r>
                        <a:rPr lang="en-US" sz="1400">
                          <a:solidFill>
                            <a:schemeClr val="bg1"/>
                          </a:solidFill>
                          <a:latin typeface="Arial" panose="020B0604020202020204" pitchFamily="34" charset="0"/>
                          <a:cs typeface="Arial" panose="020B0604020202020204" pitchFamily="34" charset="0"/>
                        </a:rPr>
                        <a:t>?
</a:t>
                      </a:r>
                      <a:endParaRPr lang="es-CO" sz="1400">
                        <a:solidFill>
                          <a:schemeClr val="bg1"/>
                        </a:solidFill>
                        <a:latin typeface="Arial" panose="020B0604020202020204" pitchFamily="34" charset="0"/>
                        <a:cs typeface="Arial" panose="020B0604020202020204" pitchFamily="34" charset="0"/>
                      </a:endParaRPr>
                    </a:p>
                  </a:txBody>
                  <a:tcPr>
                    <a:noFill/>
                  </a:tcPr>
                </a:tc>
                <a:tc>
                  <a:txBody>
                    <a:bodyPr/>
                    <a:lstStyle/>
                    <a:p>
                      <a:r>
                        <a:rPr lang="en-US" sz="1400">
                          <a:solidFill>
                            <a:schemeClr val="bg1"/>
                          </a:solidFill>
                          <a:latin typeface="Arial" panose="020B0604020202020204" pitchFamily="34" charset="0"/>
                          <a:cs typeface="Arial" panose="020B0604020202020204" pitchFamily="34" charset="0"/>
                        </a:rPr>
                        <a:t>Increase in NPS (Net promoter score) by 5 points
</a:t>
                      </a:r>
                      <a:endParaRPr lang="es-CO" sz="1400">
                        <a:solidFill>
                          <a:schemeClr val="bg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744044871"/>
                  </a:ext>
                </a:extLst>
              </a:tr>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rial" panose="020B0604020202020204" pitchFamily="34" charset="0"/>
                          <a:cs typeface="Arial" panose="020B0604020202020204" pitchFamily="34" charset="0"/>
                        </a:rPr>
                        <a:t>If I </a:t>
                      </a:r>
                      <a:r>
                        <a:rPr lang="en-US" sz="1400" b="1">
                          <a:solidFill>
                            <a:srgbClr val="EA3A55"/>
                          </a:solidFill>
                          <a:latin typeface="Arial" panose="020B0604020202020204" pitchFamily="34" charset="0"/>
                          <a:cs typeface="Arial" panose="020B0604020202020204" pitchFamily="34" charset="0"/>
                        </a:rPr>
                        <a:t>add this feature</a:t>
                      </a:r>
                      <a:r>
                        <a:rPr lang="en-US" sz="1400">
                          <a:solidFill>
                            <a:schemeClr val="bg1"/>
                          </a:solidFill>
                          <a:latin typeface="Arial" panose="020B0604020202020204" pitchFamily="34" charset="0"/>
                          <a:cs typeface="Arial" panose="020B0604020202020204" pitchFamily="34" charset="0"/>
                        </a:rPr>
                        <a:t>, customers will </a:t>
                      </a:r>
                      <a:r>
                        <a:rPr lang="en-US" sz="1400" b="1">
                          <a:solidFill>
                            <a:srgbClr val="188CE5"/>
                          </a:solidFill>
                          <a:latin typeface="Arial" panose="020B0604020202020204" pitchFamily="34" charset="0"/>
                          <a:cs typeface="Arial" panose="020B0604020202020204" pitchFamily="34" charset="0"/>
                        </a:rPr>
                        <a:t>spend more time on my website</a:t>
                      </a:r>
                      <a:endParaRPr lang="es-CO" sz="1400" b="1">
                        <a:solidFill>
                          <a:srgbClr val="188CE5"/>
                        </a:solidFill>
                        <a:latin typeface="Arial" panose="020B0604020202020204" pitchFamily="34" charset="0"/>
                        <a:cs typeface="Arial" panose="020B0604020202020204" pitchFamily="34" charset="0"/>
                      </a:endParaRPr>
                    </a:p>
                  </a:txBody>
                  <a:tcPr>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rial" panose="020B0604020202020204" pitchFamily="34" charset="0"/>
                          <a:cs typeface="Arial" panose="020B0604020202020204" pitchFamily="34" charset="0"/>
                        </a:rPr>
                        <a:t>50% increase in the amount of time spent on the website, resulting in a purchase
</a:t>
                      </a:r>
                      <a:endParaRPr lang="es-CO" sz="1400">
                        <a:solidFill>
                          <a:schemeClr val="bg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957145236"/>
                  </a:ext>
                </a:extLst>
              </a:tr>
              <a:tr h="37084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If I change this </a:t>
                      </a:r>
                      <a:r>
                        <a:rPr lang="en-US" sz="1400" b="1" dirty="0">
                          <a:solidFill>
                            <a:srgbClr val="EA3A55"/>
                          </a:solidFill>
                          <a:latin typeface="Arial" panose="020B0604020202020204" pitchFamily="34" charset="0"/>
                          <a:cs typeface="Arial" panose="020B0604020202020204" pitchFamily="34" charset="0"/>
                        </a:rPr>
                        <a:t>interaction</a:t>
                      </a:r>
                      <a:r>
                        <a:rPr lang="en-US" sz="1400" dirty="0">
                          <a:solidFill>
                            <a:schemeClr val="bg1"/>
                          </a:solidFill>
                          <a:latin typeface="Arial" panose="020B0604020202020204" pitchFamily="34" charset="0"/>
                          <a:cs typeface="Arial" panose="020B0604020202020204" pitchFamily="34" charset="0"/>
                        </a:rPr>
                        <a:t>, customers will </a:t>
                      </a:r>
                      <a:r>
                        <a:rPr lang="en-US" sz="1400" b="1" dirty="0">
                          <a:solidFill>
                            <a:srgbClr val="188CE5"/>
                          </a:solidFill>
                          <a:latin typeface="Arial" panose="020B0604020202020204" pitchFamily="34" charset="0"/>
                          <a:cs typeface="Arial" panose="020B0604020202020204" pitchFamily="34" charset="0"/>
                        </a:rPr>
                        <a:t>spend more money</a:t>
                      </a:r>
                      <a:r>
                        <a:rPr lang="en-US" sz="1400" dirty="0">
                          <a:solidFill>
                            <a:schemeClr val="bg1"/>
                          </a:solidFill>
                          <a:latin typeface="Arial" panose="020B0604020202020204" pitchFamily="34" charset="0"/>
                          <a:cs typeface="Arial" panose="020B0604020202020204" pitchFamily="34" charset="0"/>
                        </a:rPr>
                        <a:t> in my store
</a:t>
                      </a:r>
                      <a:endParaRPr lang="es-CO" sz="1400" dirty="0">
                        <a:solidFill>
                          <a:schemeClr val="bg1"/>
                        </a:solidFill>
                        <a:latin typeface="Arial" panose="020B0604020202020204" pitchFamily="34" charset="0"/>
                        <a:cs typeface="Arial" panose="020B0604020202020204" pitchFamily="34" charset="0"/>
                      </a:endParaRPr>
                    </a:p>
                  </a:txBody>
                  <a:tcPr>
                    <a:noFill/>
                  </a:tcPr>
                </a:tc>
                <a:tc>
                  <a:txBody>
                    <a:bodyPr/>
                    <a:lstStyle/>
                    <a:p>
                      <a:r>
                        <a:rPr lang="en-US" sz="1400" dirty="0">
                          <a:solidFill>
                            <a:schemeClr val="bg1"/>
                          </a:solidFill>
                          <a:latin typeface="Arial" panose="020B0604020202020204" pitchFamily="34" charset="0"/>
                          <a:cs typeface="Arial" panose="020B0604020202020204" pitchFamily="34" charset="0"/>
                        </a:rPr>
                        <a:t>Increase in money spent in the store by 20%
</a:t>
                      </a:r>
                      <a:endParaRPr lang="es-CO" sz="1400" dirty="0">
                        <a:solidFill>
                          <a:schemeClr val="bg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99250504"/>
                  </a:ext>
                </a:extLst>
              </a:tr>
            </a:tbl>
          </a:graphicData>
        </a:graphic>
      </p:graphicFrame>
      <p:sp>
        <p:nvSpPr>
          <p:cNvPr id="8" name="Rectangle: Folded Corner 7">
            <a:extLst>
              <a:ext uri="{FF2B5EF4-FFF2-40B4-BE49-F238E27FC236}">
                <a16:creationId xmlns:a16="http://schemas.microsoft.com/office/drawing/2014/main" id="{6CD4BF36-C9BE-4845-A88E-CBA09EFB603D}"/>
              </a:ext>
            </a:extLst>
          </p:cNvPr>
          <p:cNvSpPr/>
          <p:nvPr/>
        </p:nvSpPr>
        <p:spPr>
          <a:xfrm>
            <a:off x="8527585" y="3546361"/>
            <a:ext cx="2760709" cy="2274874"/>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Due to time constraints, we do not expect you to conduct the experiment and present results yet. </a:t>
            </a:r>
          </a:p>
          <a:p>
            <a:endParaRPr lang="en-US"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However, in this step we want to see what metrics or indicators you will use to determine whether your innovation was successful or not, and how you would measure them.</a:t>
            </a:r>
          </a:p>
        </p:txBody>
      </p:sp>
    </p:spTree>
    <p:extLst>
      <p:ext uri="{BB962C8B-B14F-4D97-AF65-F5344CB8AC3E}">
        <p14:creationId xmlns:p14="http://schemas.microsoft.com/office/powerpoint/2010/main" val="518721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0E77D9-5101-4269-B608-484B42BDD493}"/>
              </a:ext>
            </a:extLst>
          </p:cNvPr>
          <p:cNvSpPr/>
          <p:nvPr/>
        </p:nvSpPr>
        <p:spPr>
          <a:xfrm>
            <a:off x="2129993" y="2606851"/>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1. Define </a:t>
            </a:r>
            <a:r>
              <a:rPr lang="es-CO" sz="1600" b="1" dirty="0" err="1">
                <a:solidFill>
                  <a:schemeClr val="bg1"/>
                </a:solidFill>
                <a:latin typeface="Arial" panose="020B0604020202020204" pitchFamily="34" charset="0"/>
                <a:cs typeface="Arial" panose="020B0604020202020204" pitchFamily="34" charset="0"/>
              </a:rPr>
              <a:t>the</a:t>
            </a:r>
            <a:r>
              <a:rPr lang="es-CO" sz="1600" b="1" dirty="0">
                <a:solidFill>
                  <a:schemeClr val="bg1"/>
                </a:solidFill>
                <a:latin typeface="Arial" panose="020B0604020202020204" pitchFamily="34" charset="0"/>
                <a:cs typeface="Arial" panose="020B0604020202020204" pitchFamily="34" charset="0"/>
              </a:rPr>
              <a:t> </a:t>
            </a:r>
            <a:r>
              <a:rPr lang="es-CO" sz="1600" b="1" dirty="0" err="1">
                <a:solidFill>
                  <a:schemeClr val="bg1"/>
                </a:solidFill>
                <a:latin typeface="Arial" panose="020B0604020202020204" pitchFamily="34" charset="0"/>
                <a:cs typeface="Arial" panose="020B0604020202020204" pitchFamily="34" charset="0"/>
              </a:rPr>
              <a:t>problem</a:t>
            </a:r>
            <a:endParaRPr lang="es-CO" sz="1600" b="1" dirty="0">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AB19E19C-2922-43AB-89CE-78C45A668D9E}"/>
              </a:ext>
            </a:extLst>
          </p:cNvPr>
          <p:cNvSpPr/>
          <p:nvPr/>
        </p:nvSpPr>
        <p:spPr>
          <a:xfrm>
            <a:off x="6076351" y="2606850"/>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2. Set </a:t>
            </a:r>
            <a:r>
              <a:rPr lang="es-CO" sz="1600" b="1" dirty="0" err="1">
                <a:solidFill>
                  <a:schemeClr val="bg1"/>
                </a:solidFill>
                <a:latin typeface="Arial" panose="020B0604020202020204" pitchFamily="34" charset="0"/>
                <a:cs typeface="Arial" panose="020B0604020202020204" pitchFamily="34" charset="0"/>
              </a:rPr>
              <a:t>limits</a:t>
            </a:r>
            <a:endParaRPr lang="es-CO" sz="1600" b="1" dirty="0">
              <a:solidFill>
                <a:schemeClr val="bg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2B64886-DA5D-42C1-9415-ACB599CD0573}"/>
              </a:ext>
            </a:extLst>
          </p:cNvPr>
          <p:cNvSpPr/>
          <p:nvPr/>
        </p:nvSpPr>
        <p:spPr>
          <a:xfrm>
            <a:off x="2129993" y="3576498"/>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3. Observe</a:t>
            </a:r>
          </a:p>
        </p:txBody>
      </p:sp>
      <p:sp>
        <p:nvSpPr>
          <p:cNvPr id="11" name="Rectangle 10">
            <a:extLst>
              <a:ext uri="{FF2B5EF4-FFF2-40B4-BE49-F238E27FC236}">
                <a16:creationId xmlns:a16="http://schemas.microsoft.com/office/drawing/2014/main" id="{3AA193E2-F8B9-40C9-9545-6168D11308EE}"/>
              </a:ext>
            </a:extLst>
          </p:cNvPr>
          <p:cNvSpPr/>
          <p:nvPr/>
        </p:nvSpPr>
        <p:spPr>
          <a:xfrm>
            <a:off x="6076351" y="3576497"/>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4. </a:t>
            </a:r>
            <a:r>
              <a:rPr lang="es-CO" sz="1600" b="1" dirty="0" err="1">
                <a:solidFill>
                  <a:schemeClr val="bg1"/>
                </a:solidFill>
                <a:latin typeface="Arial" panose="020B0604020202020204" pitchFamily="34" charset="0"/>
                <a:cs typeface="Arial" panose="020B0604020202020204" pitchFamily="34" charset="0"/>
              </a:rPr>
              <a:t>Generate</a:t>
            </a:r>
            <a:r>
              <a:rPr lang="es-CO" sz="1600" b="1" dirty="0">
                <a:solidFill>
                  <a:schemeClr val="bg1"/>
                </a:solidFill>
                <a:latin typeface="Arial" panose="020B0604020202020204" pitchFamily="34" charset="0"/>
                <a:cs typeface="Arial" panose="020B0604020202020204" pitchFamily="34" charset="0"/>
              </a:rPr>
              <a:t> ideas</a:t>
            </a:r>
          </a:p>
        </p:txBody>
      </p:sp>
      <p:sp>
        <p:nvSpPr>
          <p:cNvPr id="15" name="TextBox 14">
            <a:extLst>
              <a:ext uri="{FF2B5EF4-FFF2-40B4-BE49-F238E27FC236}">
                <a16:creationId xmlns:a16="http://schemas.microsoft.com/office/drawing/2014/main" id="{91EEF143-E558-401F-9B5D-6901B44B8C69}"/>
              </a:ext>
            </a:extLst>
          </p:cNvPr>
          <p:cNvSpPr txBox="1"/>
          <p:nvPr/>
        </p:nvSpPr>
        <p:spPr>
          <a:xfrm>
            <a:off x="654119" y="849648"/>
            <a:ext cx="10844464" cy="646331"/>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This method is particularly useful for innovations that are less well defined, such as new products, services and business processes.</a:t>
            </a:r>
          </a:p>
        </p:txBody>
      </p:sp>
      <p:sp>
        <p:nvSpPr>
          <p:cNvPr id="16" name="Rectangle 15">
            <a:extLst>
              <a:ext uri="{FF2B5EF4-FFF2-40B4-BE49-F238E27FC236}">
                <a16:creationId xmlns:a16="http://schemas.microsoft.com/office/drawing/2014/main" id="{77A9C023-669C-46CD-B5E9-2D01992016F7}"/>
              </a:ext>
            </a:extLst>
          </p:cNvPr>
          <p:cNvSpPr/>
          <p:nvPr/>
        </p:nvSpPr>
        <p:spPr>
          <a:xfrm>
            <a:off x="2129993" y="4546145"/>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5. </a:t>
            </a:r>
            <a:r>
              <a:rPr lang="es-CO" sz="1600" b="1" dirty="0" err="1">
                <a:solidFill>
                  <a:schemeClr val="bg1"/>
                </a:solidFill>
                <a:latin typeface="Arial" panose="020B0604020202020204" pitchFamily="34" charset="0"/>
                <a:cs typeface="Arial" panose="020B0604020202020204" pitchFamily="34" charset="0"/>
              </a:rPr>
              <a:t>Build</a:t>
            </a:r>
            <a:r>
              <a:rPr lang="es-CO" sz="1600" b="1" dirty="0">
                <a:solidFill>
                  <a:schemeClr val="bg1"/>
                </a:solidFill>
                <a:latin typeface="Arial" panose="020B0604020202020204" pitchFamily="34" charset="0"/>
                <a:cs typeface="Arial" panose="020B0604020202020204" pitchFamily="34" charset="0"/>
              </a:rPr>
              <a:t> </a:t>
            </a:r>
            <a:r>
              <a:rPr lang="es-CO" sz="1600" b="1" dirty="0" err="1">
                <a:solidFill>
                  <a:schemeClr val="bg1"/>
                </a:solidFill>
                <a:latin typeface="Arial" panose="020B0604020202020204" pitchFamily="34" charset="0"/>
                <a:cs typeface="Arial" panose="020B0604020202020204" pitchFamily="34" charset="0"/>
              </a:rPr>
              <a:t>an</a:t>
            </a:r>
            <a:r>
              <a:rPr lang="es-CO" sz="1600" b="1" dirty="0">
                <a:solidFill>
                  <a:schemeClr val="bg1"/>
                </a:solidFill>
                <a:latin typeface="Arial" panose="020B0604020202020204" pitchFamily="34" charset="0"/>
                <a:cs typeface="Arial" panose="020B0604020202020204" pitchFamily="34" charset="0"/>
              </a:rPr>
              <a:t> MVP</a:t>
            </a:r>
          </a:p>
        </p:txBody>
      </p:sp>
      <p:sp>
        <p:nvSpPr>
          <p:cNvPr id="12" name="Rectangle 11">
            <a:extLst>
              <a:ext uri="{FF2B5EF4-FFF2-40B4-BE49-F238E27FC236}">
                <a16:creationId xmlns:a16="http://schemas.microsoft.com/office/drawing/2014/main" id="{8D394120-72DF-47C2-9EAA-B976EE3D175F}"/>
              </a:ext>
            </a:extLst>
          </p:cNvPr>
          <p:cNvSpPr/>
          <p:nvPr/>
        </p:nvSpPr>
        <p:spPr>
          <a:xfrm>
            <a:off x="6076351" y="4546144"/>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6. Test </a:t>
            </a:r>
            <a:r>
              <a:rPr lang="es-CO" sz="1600" b="1" dirty="0" err="1">
                <a:solidFill>
                  <a:schemeClr val="bg1"/>
                </a:solidFill>
                <a:latin typeface="Arial" panose="020B0604020202020204" pitchFamily="34" charset="0"/>
                <a:cs typeface="Arial" panose="020B0604020202020204" pitchFamily="34" charset="0"/>
              </a:rPr>
              <a:t>it</a:t>
            </a:r>
            <a:endParaRPr lang="es-CO" sz="1600" b="1" dirty="0">
              <a:solidFill>
                <a:schemeClr val="bg1"/>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8287452B-6198-4F1E-AA19-ED99A0508AE6}"/>
              </a:ext>
            </a:extLst>
          </p:cNvPr>
          <p:cNvSpPr/>
          <p:nvPr/>
        </p:nvSpPr>
        <p:spPr>
          <a:xfrm>
            <a:off x="4247750" y="5403376"/>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a:solidFill>
                  <a:schemeClr val="bg1"/>
                </a:solidFill>
                <a:latin typeface="Arial" panose="020B0604020202020204" pitchFamily="34" charset="0"/>
                <a:cs typeface="Arial" panose="020B0604020202020204" pitchFamily="34" charset="0"/>
              </a:rPr>
              <a:t>7. Decide</a:t>
            </a:r>
          </a:p>
        </p:txBody>
      </p:sp>
      <p:sp>
        <p:nvSpPr>
          <p:cNvPr id="14" name="TextBox 13">
            <a:extLst>
              <a:ext uri="{FF2B5EF4-FFF2-40B4-BE49-F238E27FC236}">
                <a16:creationId xmlns:a16="http://schemas.microsoft.com/office/drawing/2014/main" id="{30418B71-8CC9-4D5D-8948-1316B0CA395B}"/>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Tool: </a:t>
            </a:r>
            <a:r>
              <a:rPr lang="es-CO" sz="2000" b="1" dirty="0" err="1">
                <a:solidFill>
                  <a:schemeClr val="bg1"/>
                </a:solidFill>
                <a:highlight>
                  <a:srgbClr val="EA3A55"/>
                </a:highlight>
                <a:latin typeface="Arial" panose="020B0604020202020204" pitchFamily="34" charset="0"/>
                <a:cs typeface="Arial" panose="020B0604020202020204" pitchFamily="34" charset="0"/>
              </a:rPr>
              <a:t>divergent</a:t>
            </a:r>
            <a:r>
              <a:rPr lang="es-CO" sz="2000" b="1" dirty="0">
                <a:solidFill>
                  <a:schemeClr val="bg1"/>
                </a:solidFill>
                <a:latin typeface="Arial" panose="020B0604020202020204" pitchFamily="34" charset="0"/>
                <a:cs typeface="Arial" panose="020B0604020202020204" pitchFamily="34" charset="0"/>
              </a:rPr>
              <a:t> experimental </a:t>
            </a:r>
            <a:r>
              <a:rPr lang="es-CO" sz="2000" b="1" dirty="0" err="1">
                <a:solidFill>
                  <a:schemeClr val="bg1"/>
                </a:solidFill>
                <a:latin typeface="Arial" panose="020B0604020202020204" pitchFamily="34" charset="0"/>
                <a:cs typeface="Arial" panose="020B0604020202020204" pitchFamily="34" charset="0"/>
              </a:rPr>
              <a:t>method</a:t>
            </a:r>
            <a:endParaRPr lang="es-CO" sz="20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6745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597FF9D1-F615-46B8-82C4-43A456BE5991}"/>
              </a:ext>
            </a:extLst>
          </p:cNvPr>
          <p:cNvSpPr txBox="1"/>
          <p:nvPr/>
        </p:nvSpPr>
        <p:spPr>
          <a:xfrm>
            <a:off x="659616" y="1741959"/>
            <a:ext cx="8488767" cy="1323439"/>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The problem must be rooted in a customer need or market opportunity. </a:t>
            </a:r>
          </a:p>
          <a:p>
            <a:r>
              <a:rPr lang="en-US" sz="1600" dirty="0">
                <a:solidFill>
                  <a:schemeClr val="bg1"/>
                </a:solidFill>
                <a:latin typeface="Arial" panose="020B0604020202020204" pitchFamily="34" charset="0"/>
                <a:cs typeface="Arial" panose="020B0604020202020204" pitchFamily="34" charset="0"/>
              </a:rPr>
              <a:t>The advantage of defining innovation in terms of a problem is that it forces you to adopt the customer's point of view. </a:t>
            </a:r>
          </a:p>
          <a:p>
            <a:r>
              <a:rPr lang="en-US" sz="1600" dirty="0">
                <a:solidFill>
                  <a:schemeClr val="bg1"/>
                </a:solidFill>
                <a:latin typeface="Arial" panose="020B0604020202020204" pitchFamily="34" charset="0"/>
                <a:cs typeface="Arial" panose="020B0604020202020204" pitchFamily="34" charset="0"/>
              </a:rPr>
              <a:t>Innovation should always focus on bringing value to the customer rather than on deploying the latest technology or product feature, or on beating the competition. </a:t>
            </a: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1. Define </a:t>
            </a:r>
            <a:r>
              <a:rPr lang="es-CO" sz="1600" b="1" dirty="0" err="1">
                <a:solidFill>
                  <a:schemeClr val="bg1"/>
                </a:solidFill>
                <a:latin typeface="Arial" panose="020B0604020202020204" pitchFamily="34" charset="0"/>
                <a:cs typeface="Arial" panose="020B0604020202020204" pitchFamily="34" charset="0"/>
              </a:rPr>
              <a:t>the</a:t>
            </a:r>
            <a:r>
              <a:rPr lang="es-CO" sz="1600" b="1" dirty="0">
                <a:solidFill>
                  <a:schemeClr val="bg1"/>
                </a:solidFill>
                <a:latin typeface="Arial" panose="020B0604020202020204" pitchFamily="34" charset="0"/>
                <a:cs typeface="Arial" panose="020B0604020202020204" pitchFamily="34" charset="0"/>
              </a:rPr>
              <a:t> </a:t>
            </a:r>
            <a:r>
              <a:rPr lang="es-CO" sz="1600" b="1" dirty="0" err="1">
                <a:solidFill>
                  <a:schemeClr val="bg1"/>
                </a:solidFill>
                <a:latin typeface="Arial" panose="020B0604020202020204" pitchFamily="34" charset="0"/>
                <a:cs typeface="Arial" panose="020B0604020202020204" pitchFamily="34" charset="0"/>
              </a:rPr>
              <a:t>problem</a:t>
            </a:r>
            <a:endParaRPr lang="es-CO" sz="1600" b="1" dirty="0">
              <a:solidFill>
                <a:schemeClr val="bg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3F5B77B-C5B7-467A-B39D-86CFB13FDDC7}"/>
              </a:ext>
            </a:extLst>
          </p:cNvPr>
          <p:cNvSpPr/>
          <p:nvPr/>
        </p:nvSpPr>
        <p:spPr>
          <a:xfrm>
            <a:off x="654119" y="3129160"/>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2. Set </a:t>
            </a:r>
            <a:r>
              <a:rPr lang="es-CO" sz="1600" b="1" dirty="0" err="1">
                <a:solidFill>
                  <a:schemeClr val="bg1"/>
                </a:solidFill>
                <a:latin typeface="Arial" panose="020B0604020202020204" pitchFamily="34" charset="0"/>
                <a:cs typeface="Arial" panose="020B0604020202020204" pitchFamily="34" charset="0"/>
              </a:rPr>
              <a:t>limits</a:t>
            </a:r>
            <a:endParaRPr lang="es-CO" sz="1600" b="1" dirty="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26D72DD-8DF0-4733-A3C8-76B0DBD004B8}"/>
              </a:ext>
            </a:extLst>
          </p:cNvPr>
          <p:cNvSpPr txBox="1"/>
          <p:nvPr/>
        </p:nvSpPr>
        <p:spPr>
          <a:xfrm>
            <a:off x="638209" y="3921584"/>
            <a:ext cx="10915581" cy="830997"/>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Divergent experimentation is iterative and we are naturally inclined to continue before admitting failure, it is easy for your innovation project to keep going even when the prospects of success are slim. This is why it is essential to set boundaries from the outset. </a:t>
            </a:r>
            <a:r>
              <a:rPr lang="en-US" sz="1600" u="sng" dirty="0">
                <a:solidFill>
                  <a:schemeClr val="bg1"/>
                </a:solidFill>
                <a:latin typeface="Arial" panose="020B0604020202020204" pitchFamily="34" charset="0"/>
                <a:cs typeface="Arial" panose="020B0604020202020204" pitchFamily="34" charset="0"/>
              </a:rPr>
              <a:t>Explain what your limits are for each category and what your criteria are for setting them.</a:t>
            </a:r>
            <a:endParaRPr lang="en-US" sz="1600" dirty="0">
              <a:solidFill>
                <a:schemeClr val="bg1"/>
              </a:solidFill>
              <a:latin typeface="Arial" panose="020B0604020202020204" pitchFamily="34" charset="0"/>
              <a:cs typeface="Arial" panose="020B0604020202020204" pitchFamily="34" charset="0"/>
            </a:endParaRPr>
          </a:p>
        </p:txBody>
      </p:sp>
      <p:grpSp>
        <p:nvGrpSpPr>
          <p:cNvPr id="11" name="Group 10">
            <a:extLst>
              <a:ext uri="{FF2B5EF4-FFF2-40B4-BE49-F238E27FC236}">
                <a16:creationId xmlns:a16="http://schemas.microsoft.com/office/drawing/2014/main" id="{6346918C-5AB0-4C33-A6F0-48AE0243CF57}"/>
              </a:ext>
            </a:extLst>
          </p:cNvPr>
          <p:cNvGrpSpPr/>
          <p:nvPr/>
        </p:nvGrpSpPr>
        <p:grpSpPr>
          <a:xfrm>
            <a:off x="8654625" y="5058015"/>
            <a:ext cx="1147281" cy="1147281"/>
            <a:chOff x="8558372" y="4909021"/>
            <a:chExt cx="1147281" cy="1147281"/>
          </a:xfrm>
        </p:grpSpPr>
        <p:pic>
          <p:nvPicPr>
            <p:cNvPr id="8194" name="Picture 2">
              <a:extLst>
                <a:ext uri="{FF2B5EF4-FFF2-40B4-BE49-F238E27FC236}">
                  <a16:creationId xmlns:a16="http://schemas.microsoft.com/office/drawing/2014/main" id="{786C47B1-66A2-4575-9D1F-1C6C3260AE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8372" y="4909021"/>
              <a:ext cx="1147281" cy="1147281"/>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7BB89301-BF9F-4CA5-8881-888F0FE481A7}"/>
                </a:ext>
              </a:extLst>
            </p:cNvPr>
            <p:cNvSpPr/>
            <p:nvPr/>
          </p:nvSpPr>
          <p:spPr>
            <a:xfrm>
              <a:off x="9046633" y="5391150"/>
              <a:ext cx="169333" cy="17568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a:solidFill>
                  <a:schemeClr val="tx1"/>
                </a:solidFill>
              </a:endParaRPr>
            </a:p>
          </p:txBody>
        </p:sp>
        <p:cxnSp>
          <p:nvCxnSpPr>
            <p:cNvPr id="8" name="Straight Connector 7">
              <a:extLst>
                <a:ext uri="{FF2B5EF4-FFF2-40B4-BE49-F238E27FC236}">
                  <a16:creationId xmlns:a16="http://schemas.microsoft.com/office/drawing/2014/main" id="{D35C88A6-BB2C-4CB4-BBD4-B99DAF675A11}"/>
                </a:ext>
              </a:extLst>
            </p:cNvPr>
            <p:cNvCxnSpPr/>
            <p:nvPr/>
          </p:nvCxnSpPr>
          <p:spPr>
            <a:xfrm>
              <a:off x="8995833" y="5481637"/>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5B2B243-3E2F-45BC-9267-121F04AC352A}"/>
                </a:ext>
              </a:extLst>
            </p:cNvPr>
            <p:cNvCxnSpPr/>
            <p:nvPr/>
          </p:nvCxnSpPr>
          <p:spPr>
            <a:xfrm>
              <a:off x="9170722" y="5481637"/>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7BD3FD3-367F-4FB8-B573-D1BF43153228}"/>
                </a:ext>
              </a:extLst>
            </p:cNvPr>
            <p:cNvCxnSpPr>
              <a:cxnSpLocks/>
            </p:cNvCxnSpPr>
            <p:nvPr/>
          </p:nvCxnSpPr>
          <p:spPr>
            <a:xfrm rot="5400000">
              <a:off x="9083142" y="5396442"/>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542C302-6D33-4E78-BE8F-E985A3D0EBB6}"/>
                </a:ext>
              </a:extLst>
            </p:cNvPr>
            <p:cNvCxnSpPr>
              <a:cxnSpLocks/>
            </p:cNvCxnSpPr>
            <p:nvPr/>
          </p:nvCxnSpPr>
          <p:spPr>
            <a:xfrm rot="5400000">
              <a:off x="9087905" y="5566833"/>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0B87202-6117-4FE6-849F-C488E1F1DFE5}"/>
                </a:ext>
              </a:extLst>
            </p:cNvPr>
            <p:cNvCxnSpPr>
              <a:cxnSpLocks/>
            </p:cNvCxnSpPr>
            <p:nvPr/>
          </p:nvCxnSpPr>
          <p:spPr>
            <a:xfrm>
              <a:off x="9480811" y="5499096"/>
              <a:ext cx="0" cy="26512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4E14974-ABD6-4437-807F-53ECF6B4B2B7}"/>
                </a:ext>
              </a:extLst>
            </p:cNvPr>
            <p:cNvCxnSpPr>
              <a:cxnSpLocks/>
            </p:cNvCxnSpPr>
            <p:nvPr/>
          </p:nvCxnSpPr>
          <p:spPr>
            <a:xfrm>
              <a:off x="8782311" y="5214669"/>
              <a:ext cx="0" cy="26512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79D8E3E-52A2-425B-8990-E6EC0DE7DA5F}"/>
                </a:ext>
              </a:extLst>
            </p:cNvPr>
            <p:cNvCxnSpPr/>
            <p:nvPr/>
          </p:nvCxnSpPr>
          <p:spPr>
            <a:xfrm>
              <a:off x="8767233" y="5214669"/>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791468B-B00D-4B1F-9420-C3235B9FB155}"/>
                </a:ext>
              </a:extLst>
            </p:cNvPr>
            <p:cNvCxnSpPr/>
            <p:nvPr/>
          </p:nvCxnSpPr>
          <p:spPr>
            <a:xfrm>
              <a:off x="9403821" y="5754422"/>
              <a:ext cx="90487" cy="0"/>
            </a:xfrm>
            <a:prstGeom prst="line">
              <a:avLst/>
            </a:prstGeom>
            <a:ln w="2857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8198" name="Picture 6">
            <a:extLst>
              <a:ext uri="{FF2B5EF4-FFF2-40B4-BE49-F238E27FC236}">
                <a16:creationId xmlns:a16="http://schemas.microsoft.com/office/drawing/2014/main" id="{AE9438FE-3D8E-471B-8DB5-2E0CC48B23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1049" y="5058015"/>
            <a:ext cx="1147281" cy="1147281"/>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a:extLst>
              <a:ext uri="{FF2B5EF4-FFF2-40B4-BE49-F238E27FC236}">
                <a16:creationId xmlns:a16="http://schemas.microsoft.com/office/drawing/2014/main" id="{4C27BE58-DB1B-48D9-B24E-D0A106B589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81180" y="5054667"/>
            <a:ext cx="1114819" cy="111481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E2892603-AD1B-4BA5-A286-1C8E0A5DD61D}"/>
              </a:ext>
            </a:extLst>
          </p:cNvPr>
          <p:cNvSpPr txBox="1"/>
          <p:nvPr/>
        </p:nvSpPr>
        <p:spPr>
          <a:xfrm>
            <a:off x="2896780" y="5341196"/>
            <a:ext cx="1639956" cy="369332"/>
          </a:xfrm>
          <a:prstGeom prst="rect">
            <a:avLst/>
          </a:prstGeom>
          <a:noFill/>
        </p:spPr>
        <p:txBody>
          <a:bodyPr wrap="square">
            <a:spAutoFit/>
          </a:bodyPr>
          <a:lstStyle/>
          <a:p>
            <a:r>
              <a:rPr lang="es-CO" sz="1800" dirty="0">
                <a:solidFill>
                  <a:schemeClr val="bg1"/>
                </a:solidFill>
                <a:latin typeface="Arial" panose="020B0604020202020204" pitchFamily="34" charset="0"/>
                <a:cs typeface="Arial" panose="020B0604020202020204" pitchFamily="34" charset="0"/>
              </a:rPr>
              <a:t>Time </a:t>
            </a:r>
            <a:r>
              <a:rPr lang="es-CO" sz="1800" dirty="0" err="1">
                <a:solidFill>
                  <a:schemeClr val="bg1"/>
                </a:solidFill>
                <a:latin typeface="Arial" panose="020B0604020202020204" pitchFamily="34" charset="0"/>
                <a:cs typeface="Arial" panose="020B0604020202020204" pitchFamily="34" charset="0"/>
              </a:rPr>
              <a:t>limit</a:t>
            </a:r>
            <a:endParaRPr lang="es-CO" dirty="0"/>
          </a:p>
        </p:txBody>
      </p:sp>
      <p:sp>
        <p:nvSpPr>
          <p:cNvPr id="27" name="TextBox 26">
            <a:extLst>
              <a:ext uri="{FF2B5EF4-FFF2-40B4-BE49-F238E27FC236}">
                <a16:creationId xmlns:a16="http://schemas.microsoft.com/office/drawing/2014/main" id="{60970E43-2B70-45BD-87A9-E6C1CAE62238}"/>
              </a:ext>
            </a:extLst>
          </p:cNvPr>
          <p:cNvSpPr txBox="1"/>
          <p:nvPr/>
        </p:nvSpPr>
        <p:spPr>
          <a:xfrm>
            <a:off x="6415703" y="5363663"/>
            <a:ext cx="1639956" cy="369332"/>
          </a:xfrm>
          <a:prstGeom prst="rect">
            <a:avLst/>
          </a:prstGeom>
          <a:noFill/>
        </p:spPr>
        <p:txBody>
          <a:bodyPr wrap="square">
            <a:spAutoFit/>
          </a:bodyPr>
          <a:lstStyle/>
          <a:p>
            <a:r>
              <a:rPr lang="es-CO" sz="1800" dirty="0">
                <a:solidFill>
                  <a:schemeClr val="bg1"/>
                </a:solidFill>
                <a:latin typeface="Arial" panose="020B0604020202020204" pitchFamily="34" charset="0"/>
                <a:cs typeface="Arial" panose="020B0604020202020204" pitchFamily="34" charset="0"/>
              </a:rPr>
              <a:t>Budget </a:t>
            </a:r>
            <a:r>
              <a:rPr lang="es-CO" sz="1800" dirty="0" err="1">
                <a:solidFill>
                  <a:schemeClr val="bg1"/>
                </a:solidFill>
                <a:latin typeface="Arial" panose="020B0604020202020204" pitchFamily="34" charset="0"/>
                <a:cs typeface="Arial" panose="020B0604020202020204" pitchFamily="34" charset="0"/>
              </a:rPr>
              <a:t>limit</a:t>
            </a:r>
            <a:endParaRPr lang="es-CO" dirty="0"/>
          </a:p>
        </p:txBody>
      </p:sp>
      <p:sp>
        <p:nvSpPr>
          <p:cNvPr id="28" name="TextBox 27">
            <a:extLst>
              <a:ext uri="{FF2B5EF4-FFF2-40B4-BE49-F238E27FC236}">
                <a16:creationId xmlns:a16="http://schemas.microsoft.com/office/drawing/2014/main" id="{0E7F086D-7828-43F2-A59B-F74AF5A43B31}"/>
              </a:ext>
            </a:extLst>
          </p:cNvPr>
          <p:cNvSpPr txBox="1"/>
          <p:nvPr/>
        </p:nvSpPr>
        <p:spPr>
          <a:xfrm>
            <a:off x="10010767" y="5324924"/>
            <a:ext cx="1639956" cy="369332"/>
          </a:xfrm>
          <a:prstGeom prst="rect">
            <a:avLst/>
          </a:prstGeom>
          <a:noFill/>
        </p:spPr>
        <p:txBody>
          <a:bodyPr wrap="square">
            <a:spAutoFit/>
          </a:bodyPr>
          <a:lstStyle/>
          <a:p>
            <a:r>
              <a:rPr lang="es-CO" sz="1800" dirty="0" err="1">
                <a:solidFill>
                  <a:schemeClr val="bg1"/>
                </a:solidFill>
                <a:latin typeface="Arial" panose="020B0604020202020204" pitchFamily="34" charset="0"/>
                <a:cs typeface="Arial" panose="020B0604020202020204" pitchFamily="34" charset="0"/>
              </a:rPr>
              <a:t>Scope</a:t>
            </a:r>
            <a:r>
              <a:rPr lang="es-CO" sz="1800" dirty="0">
                <a:solidFill>
                  <a:schemeClr val="bg1"/>
                </a:solidFill>
                <a:latin typeface="Arial" panose="020B0604020202020204" pitchFamily="34" charset="0"/>
                <a:cs typeface="Arial" panose="020B0604020202020204" pitchFamily="34" charset="0"/>
              </a:rPr>
              <a:t> </a:t>
            </a:r>
            <a:r>
              <a:rPr lang="es-CO" sz="1800" dirty="0" err="1">
                <a:solidFill>
                  <a:schemeClr val="bg1"/>
                </a:solidFill>
                <a:latin typeface="Arial" panose="020B0604020202020204" pitchFamily="34" charset="0"/>
                <a:cs typeface="Arial" panose="020B0604020202020204" pitchFamily="34" charset="0"/>
              </a:rPr>
              <a:t>limit</a:t>
            </a:r>
            <a:endParaRPr lang="es-CO" dirty="0"/>
          </a:p>
        </p:txBody>
      </p:sp>
      <p:sp>
        <p:nvSpPr>
          <p:cNvPr id="25" name="TextBox 24">
            <a:extLst>
              <a:ext uri="{FF2B5EF4-FFF2-40B4-BE49-F238E27FC236}">
                <a16:creationId xmlns:a16="http://schemas.microsoft.com/office/drawing/2014/main" id="{18153410-A280-4B99-A39E-CBAD20A31661}"/>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Tool: </a:t>
            </a:r>
            <a:r>
              <a:rPr lang="es-CO" sz="2000" b="1" dirty="0" err="1">
                <a:solidFill>
                  <a:schemeClr val="bg1"/>
                </a:solidFill>
                <a:highlight>
                  <a:srgbClr val="EA3A55"/>
                </a:highlight>
                <a:latin typeface="Arial" panose="020B0604020202020204" pitchFamily="34" charset="0"/>
                <a:cs typeface="Arial" panose="020B0604020202020204" pitchFamily="34" charset="0"/>
              </a:rPr>
              <a:t>divergent</a:t>
            </a:r>
            <a:r>
              <a:rPr lang="es-CO" sz="2000" b="1" dirty="0">
                <a:solidFill>
                  <a:schemeClr val="bg1"/>
                </a:solidFill>
                <a:latin typeface="Arial" panose="020B0604020202020204" pitchFamily="34" charset="0"/>
                <a:cs typeface="Arial" panose="020B0604020202020204" pitchFamily="34" charset="0"/>
              </a:rPr>
              <a:t> experimental </a:t>
            </a:r>
            <a:r>
              <a:rPr lang="es-CO" sz="2000" b="1" dirty="0" err="1">
                <a:solidFill>
                  <a:schemeClr val="bg1"/>
                </a:solidFill>
                <a:latin typeface="Arial" panose="020B0604020202020204" pitchFamily="34" charset="0"/>
                <a:cs typeface="Arial" panose="020B0604020202020204" pitchFamily="34" charset="0"/>
              </a:rPr>
              <a:t>method</a:t>
            </a:r>
            <a:endParaRPr lang="es-CO" sz="2000" b="1" dirty="0">
              <a:solidFill>
                <a:schemeClr val="bg1"/>
              </a:solidFill>
              <a:latin typeface="Arial" panose="020B0604020202020204" pitchFamily="34" charset="0"/>
              <a:cs typeface="Arial" panose="020B0604020202020204" pitchFamily="34" charset="0"/>
            </a:endParaRPr>
          </a:p>
        </p:txBody>
      </p:sp>
      <p:sp>
        <p:nvSpPr>
          <p:cNvPr id="29" name="Rectangle: Folded Corner 28">
            <a:extLst>
              <a:ext uri="{FF2B5EF4-FFF2-40B4-BE49-F238E27FC236}">
                <a16:creationId xmlns:a16="http://schemas.microsoft.com/office/drawing/2014/main" id="{D62E3DF2-E599-4508-BDFD-8F4653540991}"/>
              </a:ext>
            </a:extLst>
          </p:cNvPr>
          <p:cNvSpPr/>
          <p:nvPr/>
        </p:nvSpPr>
        <p:spPr>
          <a:xfrm>
            <a:off x="9500793" y="1412830"/>
            <a:ext cx="1990302" cy="1716330"/>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400" dirty="0">
                <a:solidFill>
                  <a:schemeClr val="tx1"/>
                </a:solidFill>
                <a:latin typeface="Arial" panose="020B0604020202020204" pitchFamily="34" charset="0"/>
                <a:cs typeface="Arial" panose="020B0604020202020204" pitchFamily="34" charset="0"/>
              </a:rPr>
              <a:t>Describe the customer problem or market need. </a:t>
            </a:r>
          </a:p>
          <a:p>
            <a:endParaRPr lang="en-US" sz="1400" dirty="0">
              <a:solidFill>
                <a:schemeClr val="tx1"/>
              </a:solidFill>
              <a:latin typeface="Arial" panose="020B0604020202020204" pitchFamily="34" charset="0"/>
              <a:cs typeface="Arial" panose="020B0604020202020204" pitchFamily="34" charset="0"/>
            </a:endParaRPr>
          </a:p>
          <a:p>
            <a:r>
              <a:rPr lang="en-US" sz="1400" dirty="0">
                <a:solidFill>
                  <a:schemeClr val="tx1"/>
                </a:solidFill>
                <a:latin typeface="Arial" panose="020B0604020202020204" pitchFamily="34" charset="0"/>
                <a:cs typeface="Arial" panose="020B0604020202020204" pitchFamily="34" charset="0"/>
              </a:rPr>
              <a:t>Explain how you identified it. What are your sources?</a:t>
            </a:r>
          </a:p>
        </p:txBody>
      </p:sp>
    </p:spTree>
    <p:extLst>
      <p:ext uri="{BB962C8B-B14F-4D97-AF65-F5344CB8AC3E}">
        <p14:creationId xmlns:p14="http://schemas.microsoft.com/office/powerpoint/2010/main" val="17478003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597FF9D1-F615-46B8-82C4-43A456BE5991}"/>
              </a:ext>
            </a:extLst>
          </p:cNvPr>
          <p:cNvSpPr txBox="1"/>
          <p:nvPr/>
        </p:nvSpPr>
        <p:spPr>
          <a:xfrm>
            <a:off x="4520445" y="1031864"/>
            <a:ext cx="7113468" cy="584775"/>
          </a:xfrm>
          <a:prstGeom prst="rect">
            <a:avLst/>
          </a:prstGeom>
          <a:noFill/>
        </p:spPr>
        <p:txBody>
          <a:bodyPr wrap="square">
            <a:spAutoFit/>
          </a:bodyPr>
          <a:lstStyle/>
          <a:p>
            <a:r>
              <a:rPr lang="en-US" sz="1600" dirty="0">
                <a:solidFill>
                  <a:schemeClr val="bg1"/>
                </a:solidFill>
                <a:latin typeface="Arial" panose="020B0604020202020204" pitchFamily="34" charset="0"/>
                <a:cs typeface="Arial" panose="020B0604020202020204" pitchFamily="34" charset="0"/>
              </a:rPr>
              <a:t>The aim of the observation is to deepen the understanding of the problem and to broaden the ideas for a solution.</a:t>
            </a:r>
          </a:p>
        </p:txBody>
      </p:sp>
      <p:sp>
        <p:nvSpPr>
          <p:cNvPr id="24" name="Rectangle 23">
            <a:extLst>
              <a:ext uri="{FF2B5EF4-FFF2-40B4-BE49-F238E27FC236}">
                <a16:creationId xmlns:a16="http://schemas.microsoft.com/office/drawing/2014/main" id="{C9CA2B5E-DC52-4C6B-9115-2A865EC2DE62}"/>
              </a:ext>
            </a:extLst>
          </p:cNvPr>
          <p:cNvSpPr/>
          <p:nvPr/>
        </p:nvSpPr>
        <p:spPr>
          <a:xfrm>
            <a:off x="654119" y="1018682"/>
            <a:ext cx="3696500" cy="597957"/>
          </a:xfrm>
          <a:prstGeom prst="rect">
            <a:avLst/>
          </a:prstGeom>
          <a:solidFill>
            <a:schemeClr val="accent4">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sz="1600" b="1" dirty="0">
                <a:solidFill>
                  <a:schemeClr val="bg1"/>
                </a:solidFill>
                <a:latin typeface="Arial" panose="020B0604020202020204" pitchFamily="34" charset="0"/>
                <a:cs typeface="Arial" panose="020B0604020202020204" pitchFamily="34" charset="0"/>
              </a:rPr>
              <a:t>3. Observe</a:t>
            </a:r>
          </a:p>
        </p:txBody>
      </p:sp>
      <p:graphicFrame>
        <p:nvGraphicFramePr>
          <p:cNvPr id="2" name="Diagram 1">
            <a:extLst>
              <a:ext uri="{FF2B5EF4-FFF2-40B4-BE49-F238E27FC236}">
                <a16:creationId xmlns:a16="http://schemas.microsoft.com/office/drawing/2014/main" id="{DC85F967-85F0-4798-B658-4CA67A472FA0}"/>
              </a:ext>
            </a:extLst>
          </p:cNvPr>
          <p:cNvGraphicFramePr/>
          <p:nvPr/>
        </p:nvGraphicFramePr>
        <p:xfrm>
          <a:off x="469900" y="2047257"/>
          <a:ext cx="7018765" cy="46096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5" name="Group 24">
            <a:extLst>
              <a:ext uri="{FF2B5EF4-FFF2-40B4-BE49-F238E27FC236}">
                <a16:creationId xmlns:a16="http://schemas.microsoft.com/office/drawing/2014/main" id="{1D2E1FDC-9A57-4FAF-B8B0-08449988BBC2}"/>
              </a:ext>
            </a:extLst>
          </p:cNvPr>
          <p:cNvGrpSpPr/>
          <p:nvPr/>
        </p:nvGrpSpPr>
        <p:grpSpPr>
          <a:xfrm>
            <a:off x="4350619" y="5305783"/>
            <a:ext cx="7018765" cy="710506"/>
            <a:chOff x="4113258" y="3438057"/>
            <a:chExt cx="2544686" cy="710506"/>
          </a:xfrm>
        </p:grpSpPr>
        <p:sp>
          <p:nvSpPr>
            <p:cNvPr id="29" name="Rectangle 28">
              <a:extLst>
                <a:ext uri="{FF2B5EF4-FFF2-40B4-BE49-F238E27FC236}">
                  <a16:creationId xmlns:a16="http://schemas.microsoft.com/office/drawing/2014/main" id="{C426C0A3-7076-48B9-9298-D589D0F1CA8A}"/>
                </a:ext>
              </a:extLst>
            </p:cNvPr>
            <p:cNvSpPr/>
            <p:nvPr/>
          </p:nvSpPr>
          <p:spPr>
            <a:xfrm>
              <a:off x="4113258" y="3438057"/>
              <a:ext cx="2442367" cy="71050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0" name="TextBox 29">
              <a:extLst>
                <a:ext uri="{FF2B5EF4-FFF2-40B4-BE49-F238E27FC236}">
                  <a16:creationId xmlns:a16="http://schemas.microsoft.com/office/drawing/2014/main" id="{B4A49147-348F-475E-BBC0-43DDE507D83D}"/>
                </a:ext>
              </a:extLst>
            </p:cNvPr>
            <p:cNvSpPr txBox="1"/>
            <p:nvPr/>
          </p:nvSpPr>
          <p:spPr>
            <a:xfrm>
              <a:off x="4113258" y="3438057"/>
              <a:ext cx="2544686" cy="7105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2700" tIns="12700" rIns="12700" bIns="12700" numCol="1" spcCol="1270" anchor="t" anchorCtr="0">
              <a:noAutofit/>
            </a:bodyPr>
            <a:lstStyle/>
            <a:p>
              <a:pPr marL="0" lvl="0" indent="0" defTabSz="444500">
                <a:lnSpc>
                  <a:spcPct val="90000"/>
                </a:lnSpc>
                <a:spcBef>
                  <a:spcPct val="0"/>
                </a:spcBef>
                <a:spcAft>
                  <a:spcPct val="35000"/>
                </a:spcAft>
                <a:buNone/>
              </a:pPr>
              <a:r>
                <a:rPr lang="en-US" sz="1600" b="1" kern="1200" dirty="0">
                  <a:solidFill>
                    <a:srgbClr val="F4736F"/>
                  </a:solidFill>
                  <a:latin typeface="Arial" panose="020B0604020202020204" pitchFamily="34" charset="0"/>
                  <a:cs typeface="Arial" panose="020B0604020202020204" pitchFamily="34" charset="0"/>
                </a:rPr>
                <a:t>3. Look elsewhere for ideas - </a:t>
              </a:r>
              <a:r>
                <a:rPr lang="en-US" sz="1600" kern="1200" dirty="0">
                  <a:solidFill>
                    <a:schemeClr val="bg1"/>
                  </a:solidFill>
                  <a:latin typeface="Arial" panose="020B0604020202020204" pitchFamily="34" charset="0"/>
                  <a:cs typeface="Arial" panose="020B0604020202020204" pitchFamily="34" charset="0"/>
                </a:rPr>
                <a:t>Look at other markets (how other customers are tackling the same problem) and other sectors (benchmarking beyond direct competitors in your sector).</a:t>
              </a:r>
            </a:p>
          </p:txBody>
        </p:sp>
      </p:grpSp>
      <p:grpSp>
        <p:nvGrpSpPr>
          <p:cNvPr id="31" name="Group 30">
            <a:extLst>
              <a:ext uri="{FF2B5EF4-FFF2-40B4-BE49-F238E27FC236}">
                <a16:creationId xmlns:a16="http://schemas.microsoft.com/office/drawing/2014/main" id="{1441BF0E-5B34-4DFF-82F7-9860BAA14242}"/>
              </a:ext>
            </a:extLst>
          </p:cNvPr>
          <p:cNvGrpSpPr/>
          <p:nvPr/>
        </p:nvGrpSpPr>
        <p:grpSpPr>
          <a:xfrm>
            <a:off x="3656968" y="3593943"/>
            <a:ext cx="5063381" cy="710506"/>
            <a:chOff x="3510315" y="3730161"/>
            <a:chExt cx="2442367" cy="710506"/>
          </a:xfrm>
        </p:grpSpPr>
        <p:sp>
          <p:nvSpPr>
            <p:cNvPr id="32" name="Rectangle 31">
              <a:extLst>
                <a:ext uri="{FF2B5EF4-FFF2-40B4-BE49-F238E27FC236}">
                  <a16:creationId xmlns:a16="http://schemas.microsoft.com/office/drawing/2014/main" id="{344E24FF-4BFE-4F23-AB98-2B51E7317A46}"/>
                </a:ext>
              </a:extLst>
            </p:cNvPr>
            <p:cNvSpPr/>
            <p:nvPr/>
          </p:nvSpPr>
          <p:spPr>
            <a:xfrm>
              <a:off x="3510315" y="3730161"/>
              <a:ext cx="2442367" cy="71050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3" name="TextBox 32">
              <a:extLst>
                <a:ext uri="{FF2B5EF4-FFF2-40B4-BE49-F238E27FC236}">
                  <a16:creationId xmlns:a16="http://schemas.microsoft.com/office/drawing/2014/main" id="{10C7C999-D5CA-41E2-875A-0022D5E8EF28}"/>
                </a:ext>
              </a:extLst>
            </p:cNvPr>
            <p:cNvSpPr txBox="1"/>
            <p:nvPr/>
          </p:nvSpPr>
          <p:spPr>
            <a:xfrm>
              <a:off x="3510315" y="3730161"/>
              <a:ext cx="2352673" cy="7105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5240" tIns="15240" rIns="15240" bIns="15240" numCol="1" spcCol="1270" anchor="t" anchorCtr="0">
              <a:noAutofit/>
            </a:bodyPr>
            <a:lstStyle/>
            <a:p>
              <a:pPr marL="0" lvl="0" indent="0" defTabSz="533400">
                <a:lnSpc>
                  <a:spcPct val="90000"/>
                </a:lnSpc>
                <a:spcBef>
                  <a:spcPct val="0"/>
                </a:spcBef>
                <a:spcAft>
                  <a:spcPct val="35000"/>
                </a:spcAft>
                <a:buNone/>
              </a:pPr>
              <a:r>
                <a:rPr lang="en-US" sz="1600" b="1" kern="1200" dirty="0">
                  <a:solidFill>
                    <a:srgbClr val="F4736F"/>
                  </a:solidFill>
                  <a:latin typeface="Arial" panose="020B0604020202020204" pitchFamily="34" charset="0"/>
                  <a:cs typeface="Arial" panose="020B0604020202020204" pitchFamily="34" charset="0"/>
                </a:rPr>
                <a:t>2. Learn as much as you can about the client, </a:t>
              </a:r>
              <a:r>
                <a:rPr lang="en-US" sz="1600" kern="1200" dirty="0">
                  <a:solidFill>
                    <a:schemeClr val="bg1"/>
                  </a:solidFill>
                  <a:latin typeface="Arial" panose="020B0604020202020204" pitchFamily="34" charset="0"/>
                  <a:cs typeface="Arial" panose="020B0604020202020204" pitchFamily="34" charset="0"/>
                </a:rPr>
                <a:t>the nature of the problem and the context in which the solution must fit. </a:t>
              </a:r>
            </a:p>
          </p:txBody>
        </p:sp>
      </p:grpSp>
      <p:grpSp>
        <p:nvGrpSpPr>
          <p:cNvPr id="34" name="Group 33">
            <a:extLst>
              <a:ext uri="{FF2B5EF4-FFF2-40B4-BE49-F238E27FC236}">
                <a16:creationId xmlns:a16="http://schemas.microsoft.com/office/drawing/2014/main" id="{B6CB8490-9193-41EA-96F4-A53213A81020}"/>
              </a:ext>
            </a:extLst>
          </p:cNvPr>
          <p:cNvGrpSpPr/>
          <p:nvPr/>
        </p:nvGrpSpPr>
        <p:grpSpPr>
          <a:xfrm>
            <a:off x="1217937" y="2147932"/>
            <a:ext cx="5513063" cy="710506"/>
            <a:chOff x="707703" y="0"/>
            <a:chExt cx="3093695" cy="710506"/>
          </a:xfrm>
        </p:grpSpPr>
        <p:sp>
          <p:nvSpPr>
            <p:cNvPr id="35" name="Rectangle 34">
              <a:extLst>
                <a:ext uri="{FF2B5EF4-FFF2-40B4-BE49-F238E27FC236}">
                  <a16:creationId xmlns:a16="http://schemas.microsoft.com/office/drawing/2014/main" id="{C4241B0A-35DF-4FD5-9974-0AB99B0C13B7}"/>
                </a:ext>
              </a:extLst>
            </p:cNvPr>
            <p:cNvSpPr/>
            <p:nvPr/>
          </p:nvSpPr>
          <p:spPr>
            <a:xfrm>
              <a:off x="707703" y="0"/>
              <a:ext cx="2737360" cy="71050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nchor="ctr"/>
            <a:lstStyle/>
            <a:p>
              <a:endParaRPr lang="es-CO"/>
            </a:p>
          </p:txBody>
        </p:sp>
        <p:sp>
          <p:nvSpPr>
            <p:cNvPr id="36" name="TextBox 35">
              <a:extLst>
                <a:ext uri="{FF2B5EF4-FFF2-40B4-BE49-F238E27FC236}">
                  <a16:creationId xmlns:a16="http://schemas.microsoft.com/office/drawing/2014/main" id="{9D1DD61F-DAC1-4024-9DC1-A0E99962D57F}"/>
                </a:ext>
              </a:extLst>
            </p:cNvPr>
            <p:cNvSpPr txBox="1"/>
            <p:nvPr/>
          </p:nvSpPr>
          <p:spPr>
            <a:xfrm>
              <a:off x="707703" y="0"/>
              <a:ext cx="3093695" cy="7105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marL="0" lvl="0" indent="0" defTabSz="711200">
                <a:lnSpc>
                  <a:spcPct val="90000"/>
                </a:lnSpc>
                <a:spcBef>
                  <a:spcPct val="0"/>
                </a:spcBef>
                <a:spcAft>
                  <a:spcPct val="35000"/>
                </a:spcAft>
                <a:buNone/>
              </a:pPr>
              <a:r>
                <a:rPr lang="en-US" sz="1600" b="1" kern="1200" dirty="0">
                  <a:solidFill>
                    <a:srgbClr val="F4736F"/>
                  </a:solidFill>
                  <a:latin typeface="Arial" panose="020B0604020202020204" pitchFamily="34" charset="0"/>
                  <a:cs typeface="Arial" panose="020B0604020202020204" pitchFamily="34" charset="0"/>
                </a:rPr>
                <a:t>1. Look at the context of the client, </a:t>
              </a:r>
              <a:r>
                <a:rPr lang="en-US" sz="1600" kern="1200" dirty="0">
                  <a:solidFill>
                    <a:schemeClr val="bg1"/>
                  </a:solidFill>
                  <a:latin typeface="Arial" panose="020B0604020202020204" pitchFamily="34" charset="0"/>
                  <a:cs typeface="Arial" panose="020B0604020202020204" pitchFamily="34" charset="0"/>
                </a:rPr>
                <a:t>to better understand the problem you are trying to solve. </a:t>
              </a:r>
            </a:p>
          </p:txBody>
        </p:sp>
      </p:grpSp>
      <p:sp>
        <p:nvSpPr>
          <p:cNvPr id="15" name="TextBox 14">
            <a:extLst>
              <a:ext uri="{FF2B5EF4-FFF2-40B4-BE49-F238E27FC236}">
                <a16:creationId xmlns:a16="http://schemas.microsoft.com/office/drawing/2014/main" id="{F931FCAE-8A85-4F07-AC59-5B7CF45B4626}"/>
              </a:ext>
            </a:extLst>
          </p:cNvPr>
          <p:cNvSpPr txBox="1"/>
          <p:nvPr/>
        </p:nvSpPr>
        <p:spPr>
          <a:xfrm>
            <a:off x="654119" y="201136"/>
            <a:ext cx="7113467" cy="400110"/>
          </a:xfrm>
          <a:prstGeom prst="rect">
            <a:avLst/>
          </a:prstGeom>
          <a:noFill/>
        </p:spPr>
        <p:txBody>
          <a:bodyPr wrap="square">
            <a:spAutoFit/>
          </a:bodyPr>
          <a:lstStyle/>
          <a:p>
            <a:r>
              <a:rPr lang="es-CO" sz="2000" b="1" dirty="0">
                <a:solidFill>
                  <a:schemeClr val="bg1"/>
                </a:solidFill>
                <a:latin typeface="Arial" panose="020B0604020202020204" pitchFamily="34" charset="0"/>
                <a:cs typeface="Arial" panose="020B0604020202020204" pitchFamily="34" charset="0"/>
              </a:rPr>
              <a:t>Tool: </a:t>
            </a:r>
            <a:r>
              <a:rPr lang="es-CO" sz="2000" b="1" dirty="0" err="1">
                <a:solidFill>
                  <a:schemeClr val="bg1"/>
                </a:solidFill>
                <a:highlight>
                  <a:srgbClr val="EA3A55"/>
                </a:highlight>
                <a:latin typeface="Arial" panose="020B0604020202020204" pitchFamily="34" charset="0"/>
                <a:cs typeface="Arial" panose="020B0604020202020204" pitchFamily="34" charset="0"/>
              </a:rPr>
              <a:t>divergent</a:t>
            </a:r>
            <a:r>
              <a:rPr lang="es-CO" sz="2000" b="1" dirty="0">
                <a:solidFill>
                  <a:schemeClr val="bg1"/>
                </a:solidFill>
                <a:latin typeface="Arial" panose="020B0604020202020204" pitchFamily="34" charset="0"/>
                <a:cs typeface="Arial" panose="020B0604020202020204" pitchFamily="34" charset="0"/>
              </a:rPr>
              <a:t> experimental </a:t>
            </a:r>
            <a:r>
              <a:rPr lang="es-CO" sz="2000" b="1" dirty="0" err="1">
                <a:solidFill>
                  <a:schemeClr val="bg1"/>
                </a:solidFill>
                <a:latin typeface="Arial" panose="020B0604020202020204" pitchFamily="34" charset="0"/>
                <a:cs typeface="Arial" panose="020B0604020202020204" pitchFamily="34" charset="0"/>
              </a:rPr>
              <a:t>method</a:t>
            </a:r>
            <a:endParaRPr lang="es-CO" sz="2000" b="1" dirty="0">
              <a:solidFill>
                <a:schemeClr val="bg1"/>
              </a:solidFill>
              <a:latin typeface="Arial" panose="020B0604020202020204" pitchFamily="34" charset="0"/>
              <a:cs typeface="Arial" panose="020B0604020202020204" pitchFamily="34" charset="0"/>
            </a:endParaRPr>
          </a:p>
        </p:txBody>
      </p:sp>
      <p:sp>
        <p:nvSpPr>
          <p:cNvPr id="16" name="Rectangle: Folded Corner 15">
            <a:extLst>
              <a:ext uri="{FF2B5EF4-FFF2-40B4-BE49-F238E27FC236}">
                <a16:creationId xmlns:a16="http://schemas.microsoft.com/office/drawing/2014/main" id="{1A583E69-5C6D-4540-B0D6-299CB49D5E33}"/>
              </a:ext>
            </a:extLst>
          </p:cNvPr>
          <p:cNvSpPr/>
          <p:nvPr/>
        </p:nvSpPr>
        <p:spPr>
          <a:xfrm>
            <a:off x="9170031" y="1947333"/>
            <a:ext cx="2386969" cy="2167467"/>
          </a:xfrm>
          <a:prstGeom prst="foldedCorner">
            <a:avLst/>
          </a:prstGeom>
          <a:solidFill>
            <a:srgbClr val="FCD5D4"/>
          </a:solidFill>
          <a:ln w="9525">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s-CO" sz="1400" dirty="0">
              <a:solidFill>
                <a:schemeClr val="tx1"/>
              </a:solidFill>
              <a:latin typeface="Arial" panose="020B0604020202020204" pitchFamily="34" charset="0"/>
              <a:cs typeface="Arial" panose="020B0604020202020204" pitchFamily="34" charset="0"/>
            </a:endParaRPr>
          </a:p>
          <a:p>
            <a:r>
              <a:rPr lang="en-US" sz="1400" dirty="0">
                <a:solidFill>
                  <a:schemeClr val="tx1"/>
                </a:solidFill>
                <a:latin typeface="Arial" panose="020B0604020202020204" pitchFamily="34" charset="0"/>
                <a:cs typeface="Arial" panose="020B0604020202020204" pitchFamily="34" charset="0"/>
              </a:rPr>
              <a:t>Write down your main findings about the problem identified (5 max).</a:t>
            </a:r>
          </a:p>
          <a:p>
            <a:endParaRPr lang="en-US" sz="1400" dirty="0">
              <a:solidFill>
                <a:schemeClr val="tx1"/>
              </a:solidFill>
              <a:latin typeface="Arial" panose="020B0604020202020204" pitchFamily="34" charset="0"/>
              <a:cs typeface="Arial" panose="020B0604020202020204" pitchFamily="34" charset="0"/>
            </a:endParaRPr>
          </a:p>
          <a:p>
            <a:r>
              <a:rPr lang="en-US" sz="1400" dirty="0">
                <a:solidFill>
                  <a:schemeClr val="tx1"/>
                </a:solidFill>
                <a:latin typeface="Arial" panose="020B0604020202020204" pitchFamily="34" charset="0"/>
                <a:cs typeface="Arial" panose="020B0604020202020204" pitchFamily="34" charset="0"/>
              </a:rPr>
              <a:t>Explain what your sources are or how you came to these conclusions.</a:t>
            </a:r>
          </a:p>
        </p:txBody>
      </p:sp>
    </p:spTree>
    <p:extLst>
      <p:ext uri="{BB962C8B-B14F-4D97-AF65-F5344CB8AC3E}">
        <p14:creationId xmlns:p14="http://schemas.microsoft.com/office/powerpoint/2010/main" val="33463485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cG9Mc56GFxoq7BWvWbla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2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C4F6F202B989444B8E513D90358DBD5" ma:contentTypeVersion="16" ma:contentTypeDescription="Create a new document." ma:contentTypeScope="" ma:versionID="a1e98294e94b38da44cb34f9995b8d56">
  <xsd:schema xmlns:xsd="http://www.w3.org/2001/XMLSchema" xmlns:xs="http://www.w3.org/2001/XMLSchema" xmlns:p="http://schemas.microsoft.com/office/2006/metadata/properties" xmlns:ns2="f7497011-41e9-4539-8eaa-a91e26322fc1" xmlns:ns3="36ab4214-ab26-4180-94f5-c882e3796056" xmlns:ns4="50c908b1-f277-4340-90a9-4611d0b0f078" targetNamespace="http://schemas.microsoft.com/office/2006/metadata/properties" ma:root="true" ma:fieldsID="463c619b4acbaaa66b820eb02212a806" ns2:_="" ns3:_="" ns4:_="">
    <xsd:import namespace="f7497011-41e9-4539-8eaa-a91e26322fc1"/>
    <xsd:import namespace="36ab4214-ab26-4180-94f5-c882e3796056"/>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497011-41e9-4539-8eaa-a91e26322f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6ab4214-ab26-4180-94f5-c882e379605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e94d8fc-1e66-4f71-a6c2-6ba77f95e9eb}" ma:internalName="TaxCatchAll" ma:showField="CatchAllData" ma:web="36ab4214-ab26-4180-94f5-c882e37960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36ab4214-ab26-4180-94f5-c882e3796056">
      <UserInfo>
        <DisplayName>Monica Betancourt</DisplayName>
        <AccountId>14</AccountId>
        <AccountType/>
      </UserInfo>
      <UserInfo>
        <DisplayName>Marcela Mesa1</DisplayName>
        <AccountId>88</AccountId>
        <AccountType/>
      </UserInfo>
      <UserInfo>
        <DisplayName>Daniel Muñoz Segura</DisplayName>
        <AccountId>64</AccountId>
        <AccountType/>
      </UserInfo>
      <UserInfo>
        <DisplayName>Katerine Schifino</DisplayName>
        <AccountId>16</AccountId>
        <AccountType/>
      </UserInfo>
    </SharedWithUsers>
    <TaxCatchAll xmlns="50c908b1-f277-4340-90a9-4611d0b0f078" xsi:nil="true"/>
    <lcf76f155ced4ddcb4097134ff3c332f xmlns="f7497011-41e9-4539-8eaa-a91e26322fc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FEBD0AE-4C18-4A23-B4DC-6E6B1C1ACE7D}">
  <ds:schemaRefs>
    <ds:schemaRef ds:uri="http://schemas.microsoft.com/sharepoint/v3/contenttype/forms"/>
  </ds:schemaRefs>
</ds:datastoreItem>
</file>

<file path=customXml/itemProps2.xml><?xml version="1.0" encoding="utf-8"?>
<ds:datastoreItem xmlns:ds="http://schemas.openxmlformats.org/officeDocument/2006/customXml" ds:itemID="{B66090B7-E328-4A41-9EA8-0841638AB1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497011-41e9-4539-8eaa-a91e26322fc1"/>
    <ds:schemaRef ds:uri="36ab4214-ab26-4180-94f5-c882e3796056"/>
    <ds:schemaRef ds:uri="50c908b1-f277-4340-90a9-4611d0b0f0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397B2F-AA3E-4435-ABBB-477580938829}">
  <ds:schemaRefs>
    <ds:schemaRef ds:uri="http://purl.org/dc/terms/"/>
    <ds:schemaRef ds:uri="http://schemas.openxmlformats.org/package/2006/metadata/core-properties"/>
    <ds:schemaRef ds:uri="http://purl.org/dc/dcmitype/"/>
    <ds:schemaRef ds:uri="http://schemas.microsoft.com/office/infopath/2007/PartnerControls"/>
    <ds:schemaRef ds:uri="f7497011-41e9-4539-8eaa-a91e26322fc1"/>
    <ds:schemaRef ds:uri="http://purl.org/dc/elements/1.1/"/>
    <ds:schemaRef ds:uri="http://schemas.microsoft.com/office/2006/metadata/properties"/>
    <ds:schemaRef ds:uri="http://schemas.microsoft.com/office/2006/documentManagement/types"/>
    <ds:schemaRef ds:uri="36ab4214-ab26-4180-94f5-c882e3796056"/>
    <ds:schemaRef ds:uri="http://www.w3.org/XML/1998/namespace"/>
    <ds:schemaRef ds:uri="50c908b1-f277-4340-90a9-4611d0b0f078"/>
  </ds:schemaRefs>
</ds:datastoreItem>
</file>

<file path=docProps/app.xml><?xml version="1.0" encoding="utf-8"?>
<Properties xmlns="http://schemas.openxmlformats.org/officeDocument/2006/extended-properties" xmlns:vt="http://schemas.openxmlformats.org/officeDocument/2006/docPropsVTypes">
  <Template/>
  <TotalTime>3438</TotalTime>
  <Words>1865</Words>
  <Application>Microsoft Office PowerPoint</Application>
  <PresentationFormat>Widescreen</PresentationFormat>
  <Paragraphs>161</Paragraphs>
  <Slides>12</Slides>
  <Notes>5</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EYInterstate Light</vt:lpstr>
      <vt:lpstr>Georgia</vt:lpstr>
      <vt:lpstr>EY dark background</vt:lpstr>
      <vt:lpstr>2_EY dark background</vt:lpstr>
      <vt:lpstr>1_EY dark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Katerine Schifino</cp:lastModifiedBy>
  <cp:revision>15</cp:revision>
  <dcterms:created xsi:type="dcterms:W3CDTF">2020-11-16T13:23:13Z</dcterms:created>
  <dcterms:modified xsi:type="dcterms:W3CDTF">2022-06-03T21:3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84780</vt:lpwstr>
  </property>
  <property fmtid="{D5CDD505-2E9C-101B-9397-08002B2CF9AE}" pid="3" name="NXPowerLiteSettings">
    <vt:lpwstr>C700052003A000</vt:lpwstr>
  </property>
  <property fmtid="{D5CDD505-2E9C-101B-9397-08002B2CF9AE}" pid="4" name="NXPowerLiteVersion">
    <vt:lpwstr>D8.0.4</vt:lpwstr>
  </property>
  <property fmtid="{D5CDD505-2E9C-101B-9397-08002B2CF9AE}" pid="5" name="ContentTypeId">
    <vt:lpwstr>0x0101007C4F6F202B989444B8E513D90358DBD5</vt:lpwstr>
  </property>
  <property fmtid="{D5CDD505-2E9C-101B-9397-08002B2CF9AE}" pid="6" name="MediaServiceImageTags">
    <vt:lpwstr/>
  </property>
</Properties>
</file>